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6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7.xml" ContentType="application/vnd.openxmlformats-officedocument.themeOverr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13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147473216" r:id="rId2"/>
    <p:sldId id="2147473218" r:id="rId3"/>
    <p:sldId id="2147473269" r:id="rId4"/>
    <p:sldId id="2147473233" r:id="rId5"/>
    <p:sldId id="2147473228" r:id="rId6"/>
    <p:sldId id="2147473279" r:id="rId7"/>
    <p:sldId id="2147473280" r:id="rId8"/>
    <p:sldId id="2147473275" r:id="rId9"/>
    <p:sldId id="2147473276" r:id="rId10"/>
    <p:sldId id="2147473277" r:id="rId11"/>
    <p:sldId id="2147473274" r:id="rId12"/>
    <p:sldId id="2147473282" r:id="rId13"/>
    <p:sldId id="2147473278" r:id="rId14"/>
    <p:sldId id="2147473281" r:id="rId15"/>
    <p:sldId id="2147473251" r:id="rId16"/>
    <p:sldId id="2147473272" r:id="rId17"/>
    <p:sldId id="2147473234" r:id="rId18"/>
    <p:sldId id="275" r:id="rId19"/>
    <p:sldId id="2147473225" r:id="rId20"/>
    <p:sldId id="276" r:id="rId21"/>
  </p:sldIdLst>
  <p:sldSz cx="12192000" cy="6858000"/>
  <p:notesSz cx="6858000" cy="9144000"/>
  <p:custDataLst>
    <p:tags r:id="rId23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cio" id="{98FA115B-2FDE-4898-84D3-A532EA66D7CC}">
          <p14:sldIdLst>
            <p14:sldId id="2147473216"/>
            <p14:sldId id="2147473218"/>
            <p14:sldId id="2147473269"/>
          </p14:sldIdLst>
        </p14:section>
        <p14:section name="Check In" id="{C49AFD89-405E-47BD-B1DD-0802F0B337EB}">
          <p14:sldIdLst>
            <p14:sldId id="2147473233"/>
            <p14:sldId id="2147473228"/>
          </p14:sldIdLst>
        </p14:section>
        <p14:section name="Clase 3" id="{FAD39CBF-D02A-46B2-8BB0-E77341891289}">
          <p14:sldIdLst>
            <p14:sldId id="2147473279"/>
            <p14:sldId id="2147473280"/>
            <p14:sldId id="2147473275"/>
            <p14:sldId id="2147473276"/>
            <p14:sldId id="2147473277"/>
            <p14:sldId id="2147473274"/>
            <p14:sldId id="2147473282"/>
          </p14:sldIdLst>
        </p14:section>
        <p14:section name="Actividad 1" id="{77A34D3D-6F0D-4629-83D4-CC42D8588F6E}">
          <p14:sldIdLst>
            <p14:sldId id="2147473278"/>
            <p14:sldId id="2147473281"/>
            <p14:sldId id="2147473251"/>
          </p14:sldIdLst>
        </p14:section>
        <p14:section name="Demostración 1" id="{BE95651C-A646-4A7B-8A29-359428B07077}">
          <p14:sldIdLst>
            <p14:sldId id="2147473272"/>
          </p14:sldIdLst>
        </p14:section>
        <p14:section name="Ejercicio practico" id="{2F2D74CD-3D20-435A-85FE-BC58AA9D8800}">
          <p14:sldIdLst>
            <p14:sldId id="2147473234"/>
          </p14:sldIdLst>
        </p14:section>
        <p14:section name="Cierre" id="{9355BC73-C63D-4ED3-BE4F-7BC0539B1F40}">
          <p14:sldIdLst>
            <p14:sldId id="275"/>
            <p14:sldId id="2147473225"/>
            <p14:sldId id="2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EA72E"/>
    <a:srgbClr val="2DA594"/>
    <a:srgbClr val="2C2EA2"/>
    <a:srgbClr val="FDBF0D"/>
    <a:srgbClr val="FFCC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FAE5EF-221A-49AF-A0CD-5D51888A7E34}" v="146" dt="2026-06-18T23:11:34.012"/>
  </p1510:revLst>
</p1510:revInfo>
</file>

<file path=ppt/tableStyles.xml><?xml version="1.0" encoding="utf-8"?>
<a:tblStyleLst xmlns:a="http://schemas.openxmlformats.org/drawingml/2006/main" def="{5C22544A-7EE6-4342-B048-85BDC9FD1C3A}"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593" autoAdjust="0"/>
  </p:normalViewPr>
  <p:slideViewPr>
    <p:cSldViewPr snapToGrid="0">
      <p:cViewPr varScale="1">
        <p:scale>
          <a:sx n="55" d="100"/>
          <a:sy n="55" d="100"/>
        </p:scale>
        <p:origin x="10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e Delgado" userId="7fd1feb95ba999a5" providerId="LiveId" clId="{828A6110-24F7-4285-B616-A197B94C3C38}"/>
    <pc:docChg chg="undo redo custSel addSld delSld modSld sldOrd addSection delSection modSection">
      <pc:chgData name="Natalie Delgado" userId="7fd1feb95ba999a5" providerId="LiveId" clId="{828A6110-24F7-4285-B616-A197B94C3C38}" dt="2026-06-19T15:41:11.994" v="1962" actId="20577"/>
      <pc:docMkLst>
        <pc:docMk/>
      </pc:docMkLst>
      <pc:sldChg chg="addSp modSp mod">
        <pc:chgData name="Natalie Delgado" userId="7fd1feb95ba999a5" providerId="LiveId" clId="{828A6110-24F7-4285-B616-A197B94C3C38}" dt="2026-06-18T22:28:23.724" v="1894" actId="20577"/>
        <pc:sldMkLst>
          <pc:docMk/>
          <pc:sldMk cId="1097412307" sldId="2147473216"/>
        </pc:sldMkLst>
        <pc:spChg chg="add mod">
          <ac:chgData name="Natalie Delgado" userId="7fd1feb95ba999a5" providerId="LiveId" clId="{828A6110-24F7-4285-B616-A197B94C3C38}" dt="2026-06-13T22:11:52.777" v="587" actId="14100"/>
          <ac:spMkLst>
            <pc:docMk/>
            <pc:sldMk cId="1097412307" sldId="2147473216"/>
            <ac:spMk id="2" creationId="{4BE0FF9C-7F62-E6F7-C5AE-E12DED3737DF}"/>
          </ac:spMkLst>
        </pc:spChg>
        <pc:spChg chg="add mod">
          <ac:chgData name="Natalie Delgado" userId="7fd1feb95ba999a5" providerId="LiveId" clId="{828A6110-24F7-4285-B616-A197B94C3C38}" dt="2026-06-18T22:28:23.724" v="1894" actId="20577"/>
          <ac:spMkLst>
            <pc:docMk/>
            <pc:sldMk cId="1097412307" sldId="2147473216"/>
            <ac:spMk id="3" creationId="{AF9369AE-C017-2E5D-8B9F-49130A8D5F86}"/>
          </ac:spMkLst>
        </pc:spChg>
      </pc:sldChg>
      <pc:sldChg chg="addSp delSp modSp mod ord">
        <pc:chgData name="Natalie Delgado" userId="7fd1feb95ba999a5" providerId="LiveId" clId="{828A6110-24F7-4285-B616-A197B94C3C38}" dt="2026-06-13T22:22:24.703" v="635" actId="15"/>
        <pc:sldMkLst>
          <pc:docMk/>
          <pc:sldMk cId="3573824249" sldId="2147473218"/>
        </pc:sldMkLst>
        <pc:spChg chg="add mod">
          <ac:chgData name="Natalie Delgado" userId="7fd1feb95ba999a5" providerId="LiveId" clId="{828A6110-24F7-4285-B616-A197B94C3C38}" dt="2026-06-13T22:12:22.966" v="603" actId="1076"/>
          <ac:spMkLst>
            <pc:docMk/>
            <pc:sldMk cId="3573824249" sldId="2147473218"/>
            <ac:spMk id="2" creationId="{516B35D5-AF69-A604-5E6A-2FF50F9E357B}"/>
          </ac:spMkLst>
        </pc:spChg>
        <pc:spChg chg="mod">
          <ac:chgData name="Natalie Delgado" userId="7fd1feb95ba999a5" providerId="LiveId" clId="{828A6110-24F7-4285-B616-A197B94C3C38}" dt="2026-06-13T22:22:24.703" v="635" actId="15"/>
          <ac:spMkLst>
            <pc:docMk/>
            <pc:sldMk cId="3573824249" sldId="2147473218"/>
            <ac:spMk id="4" creationId="{A5CEE46A-56F1-F4FC-BF2A-FBE2C05D8294}"/>
          </ac:spMkLst>
        </pc:spChg>
      </pc:sldChg>
      <pc:sldChg chg="mod ord modShow">
        <pc:chgData name="Natalie Delgado" userId="7fd1feb95ba999a5" providerId="LiveId" clId="{828A6110-24F7-4285-B616-A197B94C3C38}" dt="2026-06-13T23:43:13.195" v="1763"/>
        <pc:sldMkLst>
          <pc:docMk/>
          <pc:sldMk cId="1694350402" sldId="2147473233"/>
        </pc:sldMkLst>
      </pc:sldChg>
      <pc:sldChg chg="addSp delSp modSp mod">
        <pc:chgData name="Natalie Delgado" userId="7fd1feb95ba999a5" providerId="LiveId" clId="{828A6110-24F7-4285-B616-A197B94C3C38}" dt="2026-06-19T15:41:11.994" v="1962" actId="20577"/>
        <pc:sldMkLst>
          <pc:docMk/>
          <pc:sldMk cId="3012300713" sldId="2147473234"/>
        </pc:sldMkLst>
        <pc:spChg chg="add mod">
          <ac:chgData name="Natalie Delgado" userId="7fd1feb95ba999a5" providerId="LiveId" clId="{828A6110-24F7-4285-B616-A197B94C3C38}" dt="2026-06-13T23:38:24.157" v="1654"/>
          <ac:spMkLst>
            <pc:docMk/>
            <pc:sldMk cId="3012300713" sldId="2147473234"/>
            <ac:spMk id="2" creationId="{7B8FE1FA-1709-218D-47F5-30C8279FAA0A}"/>
          </ac:spMkLst>
        </pc:spChg>
        <pc:spChg chg="mod">
          <ac:chgData name="Natalie Delgado" userId="7fd1feb95ba999a5" providerId="LiveId" clId="{828A6110-24F7-4285-B616-A197B94C3C38}" dt="2026-06-13T23:56:38.765" v="1893" actId="207"/>
          <ac:spMkLst>
            <pc:docMk/>
            <pc:sldMk cId="3012300713" sldId="2147473234"/>
            <ac:spMk id="3" creationId="{63109F98-8F5E-0EA8-C756-088E0E1C665E}"/>
          </ac:spMkLst>
        </pc:spChg>
        <pc:spChg chg="add mod">
          <ac:chgData name="Natalie Delgado" userId="7fd1feb95ba999a5" providerId="LiveId" clId="{828A6110-24F7-4285-B616-A197B94C3C38}" dt="2026-06-19T15:41:11.994" v="1962" actId="20577"/>
          <ac:spMkLst>
            <pc:docMk/>
            <pc:sldMk cId="3012300713" sldId="2147473234"/>
            <ac:spMk id="6" creationId="{5B8F7AA3-4C5D-46A4-73D2-A25A14CE2C9F}"/>
          </ac:spMkLst>
        </pc:spChg>
        <pc:spChg chg="add mod">
          <ac:chgData name="Natalie Delgado" userId="7fd1feb95ba999a5" providerId="LiveId" clId="{828A6110-24F7-4285-B616-A197B94C3C38}" dt="2026-06-18T23:02:27.469" v="1901" actId="20577"/>
          <ac:spMkLst>
            <pc:docMk/>
            <pc:sldMk cId="3012300713" sldId="2147473234"/>
            <ac:spMk id="10" creationId="{D796EC02-B749-B6A2-5F66-F76457E696B9}"/>
          </ac:spMkLst>
        </pc:spChg>
      </pc:sldChg>
      <pc:sldChg chg="ord">
        <pc:chgData name="Natalie Delgado" userId="7fd1feb95ba999a5" providerId="LiveId" clId="{828A6110-24F7-4285-B616-A197B94C3C38}" dt="2026-06-13T22:25:34.537" v="669"/>
        <pc:sldMkLst>
          <pc:docMk/>
          <pc:sldMk cId="2596796332" sldId="2147473251"/>
        </pc:sldMkLst>
      </pc:sldChg>
      <pc:sldChg chg="addSp modSp new mod setBg">
        <pc:chgData name="Natalie Delgado" userId="7fd1feb95ba999a5" providerId="LiveId" clId="{828A6110-24F7-4285-B616-A197B94C3C38}" dt="2026-06-18T22:46:14.218" v="1895" actId="20577"/>
        <pc:sldMkLst>
          <pc:docMk/>
          <pc:sldMk cId="2051419963" sldId="2147473269"/>
        </pc:sldMkLst>
        <pc:spChg chg="add mod">
          <ac:chgData name="Natalie Delgado" userId="7fd1feb95ba999a5" providerId="LiveId" clId="{828A6110-24F7-4285-B616-A197B94C3C38}" dt="2026-06-18T22:46:14.218" v="1895" actId="20577"/>
          <ac:spMkLst>
            <pc:docMk/>
            <pc:sldMk cId="2051419963" sldId="2147473269"/>
            <ac:spMk id="3" creationId="{4BCE5027-98DB-623E-887B-EA0C1198FCEC}"/>
          </ac:spMkLst>
        </pc:spChg>
      </pc:sldChg>
      <pc:sldChg chg="addSp delSp modSp add del mod setBg">
        <pc:chgData name="Natalie Delgado" userId="7fd1feb95ba999a5" providerId="LiveId" clId="{828A6110-24F7-4285-B616-A197B94C3C38}" dt="2026-06-18T23:04:28.599" v="1913" actId="14100"/>
        <pc:sldMkLst>
          <pc:docMk/>
          <pc:sldMk cId="4282923115" sldId="2147473272"/>
        </pc:sldMkLst>
        <pc:spChg chg="add mod">
          <ac:chgData name="Natalie Delgado" userId="7fd1feb95ba999a5" providerId="LiveId" clId="{828A6110-24F7-4285-B616-A197B94C3C38}" dt="2026-06-18T23:04:28.599" v="1913" actId="14100"/>
          <ac:spMkLst>
            <pc:docMk/>
            <pc:sldMk cId="4282923115" sldId="2147473272"/>
            <ac:spMk id="2" creationId="{8D6CD135-E526-9270-4DE1-58261DA8DAD0}"/>
          </ac:spMkLst>
        </pc:spChg>
        <pc:spChg chg="mod">
          <ac:chgData name="Natalie Delgado" userId="7fd1feb95ba999a5" providerId="LiveId" clId="{828A6110-24F7-4285-B616-A197B94C3C38}" dt="2026-06-13T23:26:16.474" v="1276" actId="20577"/>
          <ac:spMkLst>
            <pc:docMk/>
            <pc:sldMk cId="4282923115" sldId="2147473272"/>
            <ac:spMk id="3" creationId="{FEB28149-FC26-0D13-3E05-6E8A0A4764B7}"/>
          </ac:spMkLst>
        </pc:spChg>
        <pc:spChg chg="add mod ord">
          <ac:chgData name="Natalie Delgado" userId="7fd1feb95ba999a5" providerId="LiveId" clId="{828A6110-24F7-4285-B616-A197B94C3C38}" dt="2026-06-18T23:04:14.354" v="1911" actId="164"/>
          <ac:spMkLst>
            <pc:docMk/>
            <pc:sldMk cId="4282923115" sldId="2147473272"/>
            <ac:spMk id="5" creationId="{EF263439-2616-019E-1C42-56BB9000C822}"/>
          </ac:spMkLst>
        </pc:spChg>
        <pc:spChg chg="mod">
          <ac:chgData name="Natalie Delgado" userId="7fd1feb95ba999a5" providerId="LiveId" clId="{828A6110-24F7-4285-B616-A197B94C3C38}" dt="2026-06-13T21:55:26.064" v="452" actId="20577"/>
          <ac:spMkLst>
            <pc:docMk/>
            <pc:sldMk cId="4282923115" sldId="2147473272"/>
            <ac:spMk id="7" creationId="{B2268511-9751-7E32-5237-263A28AFC9FE}"/>
          </ac:spMkLst>
        </pc:spChg>
        <pc:spChg chg="add mod">
          <ac:chgData name="Natalie Delgado" userId="7fd1feb95ba999a5" providerId="LiveId" clId="{828A6110-24F7-4285-B616-A197B94C3C38}" dt="2026-06-13T23:38:21.486" v="1653"/>
          <ac:spMkLst>
            <pc:docMk/>
            <pc:sldMk cId="4282923115" sldId="2147473272"/>
            <ac:spMk id="9" creationId="{29C6D331-E056-E362-B6C7-613AF6BB1F1F}"/>
          </ac:spMkLst>
        </pc:spChg>
        <pc:spChg chg="add mod ord">
          <ac:chgData name="Natalie Delgado" userId="7fd1feb95ba999a5" providerId="LiveId" clId="{828A6110-24F7-4285-B616-A197B94C3C38}" dt="2026-06-18T23:03:28.829" v="1903" actId="113"/>
          <ac:spMkLst>
            <pc:docMk/>
            <pc:sldMk cId="4282923115" sldId="2147473272"/>
            <ac:spMk id="10" creationId="{24FB7E6C-C473-5D25-3207-DA5A3EDCA52D}"/>
          </ac:spMkLst>
        </pc:spChg>
        <pc:grpChg chg="add mod ord">
          <ac:chgData name="Natalie Delgado" userId="7fd1feb95ba999a5" providerId="LiveId" clId="{828A6110-24F7-4285-B616-A197B94C3C38}" dt="2026-06-18T23:04:17.152" v="1912" actId="167"/>
          <ac:grpSpMkLst>
            <pc:docMk/>
            <pc:sldMk cId="4282923115" sldId="2147473272"/>
            <ac:grpSpMk id="4" creationId="{9D564435-FE72-F490-F9E9-AB1B2733F5D9}"/>
          </ac:grpSpMkLst>
        </pc:grpChg>
        <pc:picChg chg="add mod ord">
          <ac:chgData name="Natalie Delgado" userId="7fd1feb95ba999a5" providerId="LiveId" clId="{828A6110-24F7-4285-B616-A197B94C3C38}" dt="2026-06-18T23:04:14.354" v="1911" actId="164"/>
          <ac:picMkLst>
            <pc:docMk/>
            <pc:sldMk cId="4282923115" sldId="2147473272"/>
            <ac:picMk id="6" creationId="{37E42D2A-16BD-5781-0F18-7C21CC1F4863}"/>
          </ac:picMkLst>
        </pc:picChg>
      </pc:sldChg>
      <pc:sldChg chg="addSp delSp modSp add del mod setBg">
        <pc:chgData name="Natalie Delgado" userId="7fd1feb95ba999a5" providerId="LiveId" clId="{828A6110-24F7-4285-B616-A197B94C3C38}" dt="2026-06-13T23:51:09.332" v="1830" actId="14100"/>
        <pc:sldMkLst>
          <pc:docMk/>
          <pc:sldMk cId="3197016280" sldId="2147473274"/>
        </pc:sldMkLst>
        <pc:spChg chg="add mod">
          <ac:chgData name="Natalie Delgado" userId="7fd1feb95ba999a5" providerId="LiveId" clId="{828A6110-24F7-4285-B616-A197B94C3C38}" dt="2026-06-13T23:50:20.941" v="1818"/>
          <ac:spMkLst>
            <pc:docMk/>
            <pc:sldMk cId="3197016280" sldId="2147473274"/>
            <ac:spMk id="2" creationId="{33FBFFE8-E2D3-CA1A-7D9B-914D5D285BCF}"/>
          </ac:spMkLst>
        </pc:spChg>
        <pc:spChg chg="add mod">
          <ac:chgData name="Natalie Delgado" userId="7fd1feb95ba999a5" providerId="LiveId" clId="{828A6110-24F7-4285-B616-A197B94C3C38}" dt="2026-06-13T23:51:09.332" v="1830" actId="14100"/>
          <ac:spMkLst>
            <pc:docMk/>
            <pc:sldMk cId="3197016280" sldId="2147473274"/>
            <ac:spMk id="12" creationId="{31893547-22E2-2A3F-D791-4A4951DD448C}"/>
          </ac:spMkLst>
        </pc:spChg>
      </pc:sldChg>
      <pc:sldChg chg="addSp modSp new mod setBg modAnim">
        <pc:chgData name="Natalie Delgado" userId="7fd1feb95ba999a5" providerId="LiveId" clId="{828A6110-24F7-4285-B616-A197B94C3C38}" dt="2026-06-13T23:42:32.383" v="1761" actId="2711"/>
        <pc:sldMkLst>
          <pc:docMk/>
          <pc:sldMk cId="1487030127" sldId="2147473275"/>
        </pc:sldMkLst>
        <pc:spChg chg="add mod">
          <ac:chgData name="Natalie Delgado" userId="7fd1feb95ba999a5" providerId="LiveId" clId="{828A6110-24F7-4285-B616-A197B94C3C38}" dt="2026-06-13T23:42:32.383" v="1761" actId="2711"/>
          <ac:spMkLst>
            <pc:docMk/>
            <pc:sldMk cId="1487030127" sldId="2147473275"/>
            <ac:spMk id="3" creationId="{D4D99A35-4C37-9B6E-1AB8-96479CC26C51}"/>
          </ac:spMkLst>
        </pc:spChg>
        <pc:spChg chg="add mod">
          <ac:chgData name="Natalie Delgado" userId="7fd1feb95ba999a5" providerId="LiveId" clId="{828A6110-24F7-4285-B616-A197B94C3C38}" dt="2026-06-13T22:31:18.378" v="742" actId="1076"/>
          <ac:spMkLst>
            <pc:docMk/>
            <pc:sldMk cId="1487030127" sldId="2147473275"/>
            <ac:spMk id="5" creationId="{106DED6F-FB1C-EE6B-AFFF-8DC134B4ABAD}"/>
          </ac:spMkLst>
        </pc:spChg>
        <pc:graphicFrameChg chg="add mod modGraphic">
          <ac:chgData name="Natalie Delgado" userId="7fd1feb95ba999a5" providerId="LiveId" clId="{828A6110-24F7-4285-B616-A197B94C3C38}" dt="2026-06-13T22:31:24.880" v="744" actId="1076"/>
          <ac:graphicFrameMkLst>
            <pc:docMk/>
            <pc:sldMk cId="1487030127" sldId="2147473275"/>
            <ac:graphicFrameMk id="6" creationId="{90395379-9A47-4C5E-FB76-B21DAB0EE4D3}"/>
          </ac:graphicFrameMkLst>
        </pc:graphicFrameChg>
      </pc:sldChg>
      <pc:sldChg chg="addSp delSp modSp add mod modAnim">
        <pc:chgData name="Natalie Delgado" userId="7fd1feb95ba999a5" providerId="LiveId" clId="{828A6110-24F7-4285-B616-A197B94C3C38}" dt="2026-06-13T22:50:39.713" v="1116"/>
        <pc:sldMkLst>
          <pc:docMk/>
          <pc:sldMk cId="425478149" sldId="2147473276"/>
        </pc:sldMkLst>
        <pc:spChg chg="add mod">
          <ac:chgData name="Natalie Delgado" userId="7fd1feb95ba999a5" providerId="LiveId" clId="{828A6110-24F7-4285-B616-A197B94C3C38}" dt="2026-06-13T22:33:28.575" v="784" actId="207"/>
          <ac:spMkLst>
            <pc:docMk/>
            <pc:sldMk cId="425478149" sldId="2147473276"/>
            <ac:spMk id="2" creationId="{2228C58F-04A8-70D5-4334-BB4636442847}"/>
          </ac:spMkLst>
        </pc:spChg>
        <pc:spChg chg="add mod">
          <ac:chgData name="Natalie Delgado" userId="7fd1feb95ba999a5" providerId="LiveId" clId="{828A6110-24F7-4285-B616-A197B94C3C38}" dt="2026-06-13T22:33:41.782" v="789" actId="1076"/>
          <ac:spMkLst>
            <pc:docMk/>
            <pc:sldMk cId="425478149" sldId="2147473276"/>
            <ac:spMk id="4" creationId="{AC910F93-2C30-089C-E88D-82620AA54674}"/>
          </ac:spMkLst>
        </pc:spChg>
        <pc:spChg chg="mod">
          <ac:chgData name="Natalie Delgado" userId="7fd1feb95ba999a5" providerId="LiveId" clId="{828A6110-24F7-4285-B616-A197B94C3C38}" dt="2026-06-13T22:33:03.658" v="778" actId="313"/>
          <ac:spMkLst>
            <pc:docMk/>
            <pc:sldMk cId="425478149" sldId="2147473276"/>
            <ac:spMk id="5" creationId="{8C614E4A-A499-2EA2-0C99-2310D8E36083}"/>
          </ac:spMkLst>
        </pc:spChg>
        <pc:spChg chg="add mod">
          <ac:chgData name="Natalie Delgado" userId="7fd1feb95ba999a5" providerId="LiveId" clId="{828A6110-24F7-4285-B616-A197B94C3C38}" dt="2026-06-13T22:33:45.010" v="790" actId="1076"/>
          <ac:spMkLst>
            <pc:docMk/>
            <pc:sldMk cId="425478149" sldId="2147473276"/>
            <ac:spMk id="7" creationId="{89CBC9D2-F74B-28AB-2D22-04B7766BBC4E}"/>
          </ac:spMkLst>
        </pc:spChg>
        <pc:spChg chg="add mod">
          <ac:chgData name="Natalie Delgado" userId="7fd1feb95ba999a5" providerId="LiveId" clId="{828A6110-24F7-4285-B616-A197B94C3C38}" dt="2026-06-13T22:33:48.887" v="792" actId="1076"/>
          <ac:spMkLst>
            <pc:docMk/>
            <pc:sldMk cId="425478149" sldId="2147473276"/>
            <ac:spMk id="8" creationId="{F86AF6CA-A642-04EB-4760-7A9952E30A38}"/>
          </ac:spMkLst>
        </pc:spChg>
        <pc:spChg chg="add mod">
          <ac:chgData name="Natalie Delgado" userId="7fd1feb95ba999a5" providerId="LiveId" clId="{828A6110-24F7-4285-B616-A197B94C3C38}" dt="2026-06-13T22:37:11.963" v="837" actId="20577"/>
          <ac:spMkLst>
            <pc:docMk/>
            <pc:sldMk cId="425478149" sldId="2147473276"/>
            <ac:spMk id="9" creationId="{74DCD300-FA74-F523-3D18-08777A94B381}"/>
          </ac:spMkLst>
        </pc:spChg>
        <pc:spChg chg="add mod">
          <ac:chgData name="Natalie Delgado" userId="7fd1feb95ba999a5" providerId="LiveId" clId="{828A6110-24F7-4285-B616-A197B94C3C38}" dt="2026-06-13T22:37:32.440" v="866" actId="20577"/>
          <ac:spMkLst>
            <pc:docMk/>
            <pc:sldMk cId="425478149" sldId="2147473276"/>
            <ac:spMk id="10" creationId="{8E6F88F0-6F32-0BEE-92F7-D07EC0BF146A}"/>
          </ac:spMkLst>
        </pc:spChg>
        <pc:spChg chg="add mod">
          <ac:chgData name="Natalie Delgado" userId="7fd1feb95ba999a5" providerId="LiveId" clId="{828A6110-24F7-4285-B616-A197B94C3C38}" dt="2026-06-13T22:37:52.686" v="889" actId="14100"/>
          <ac:spMkLst>
            <pc:docMk/>
            <pc:sldMk cId="425478149" sldId="2147473276"/>
            <ac:spMk id="11" creationId="{5265B03D-445C-4CC3-1837-F6EB211F011B}"/>
          </ac:spMkLst>
        </pc:spChg>
        <pc:spChg chg="add mod">
          <ac:chgData name="Natalie Delgado" userId="7fd1feb95ba999a5" providerId="LiveId" clId="{828A6110-24F7-4285-B616-A197B94C3C38}" dt="2026-06-13T22:38:15.441" v="928" actId="14100"/>
          <ac:spMkLst>
            <pc:docMk/>
            <pc:sldMk cId="425478149" sldId="2147473276"/>
            <ac:spMk id="12" creationId="{B3D840EE-D7D4-9EDB-DF03-FC3B10AB1681}"/>
          </ac:spMkLst>
        </pc:spChg>
        <pc:spChg chg="add mod">
          <ac:chgData name="Natalie Delgado" userId="7fd1feb95ba999a5" providerId="LiveId" clId="{828A6110-24F7-4285-B616-A197B94C3C38}" dt="2026-06-13T22:36:26.720" v="826" actId="1076"/>
          <ac:spMkLst>
            <pc:docMk/>
            <pc:sldMk cId="425478149" sldId="2147473276"/>
            <ac:spMk id="14" creationId="{B3D6EA51-A82C-04F6-2007-46A05C36D7B6}"/>
          </ac:spMkLst>
        </pc:spChg>
        <pc:graphicFrameChg chg="mod">
          <ac:chgData name="Natalie Delgado" userId="7fd1feb95ba999a5" providerId="LiveId" clId="{828A6110-24F7-4285-B616-A197B94C3C38}" dt="2026-06-13T22:33:12.023" v="781" actId="1076"/>
          <ac:graphicFrameMkLst>
            <pc:docMk/>
            <pc:sldMk cId="425478149" sldId="2147473276"/>
            <ac:graphicFrameMk id="6" creationId="{83E1BAD4-EAEE-1472-9061-DDE0CCCEFE04}"/>
          </ac:graphicFrameMkLst>
        </pc:graphicFrameChg>
      </pc:sldChg>
      <pc:sldChg chg="addSp delSp modSp add mod addAnim delAnim modAnim">
        <pc:chgData name="Natalie Delgado" userId="7fd1feb95ba999a5" providerId="LiveId" clId="{828A6110-24F7-4285-B616-A197B94C3C38}" dt="2026-06-13T22:56:26.242" v="1201" actId="20577"/>
        <pc:sldMkLst>
          <pc:docMk/>
          <pc:sldMk cId="604178557" sldId="2147473277"/>
        </pc:sldMkLst>
        <pc:spChg chg="mod">
          <ac:chgData name="Natalie Delgado" userId="7fd1feb95ba999a5" providerId="LiveId" clId="{828A6110-24F7-4285-B616-A197B94C3C38}" dt="2026-06-13T22:39:55.105" v="955" actId="20577"/>
          <ac:spMkLst>
            <pc:docMk/>
            <pc:sldMk cId="604178557" sldId="2147473277"/>
            <ac:spMk id="5" creationId="{9E1945CE-FE5A-8090-167A-87F809BDF342}"/>
          </ac:spMkLst>
        </pc:spChg>
        <pc:spChg chg="mod">
          <ac:chgData name="Natalie Delgado" userId="7fd1feb95ba999a5" providerId="LiveId" clId="{828A6110-24F7-4285-B616-A197B94C3C38}" dt="2026-06-13T22:43:45.332" v="1009" actId="1076"/>
          <ac:spMkLst>
            <pc:docMk/>
            <pc:sldMk cId="604178557" sldId="2147473277"/>
            <ac:spMk id="9" creationId="{2EF4BA7B-A587-FA7A-74A4-CFE6C1D8491E}"/>
          </ac:spMkLst>
        </pc:spChg>
        <pc:spChg chg="mod">
          <ac:chgData name="Natalie Delgado" userId="7fd1feb95ba999a5" providerId="LiveId" clId="{828A6110-24F7-4285-B616-A197B94C3C38}" dt="2026-06-13T22:43:56.448" v="1015" actId="1076"/>
          <ac:spMkLst>
            <pc:docMk/>
            <pc:sldMk cId="604178557" sldId="2147473277"/>
            <ac:spMk id="10" creationId="{45B2B411-6FD5-E4EE-B384-F6647EEDBA78}"/>
          </ac:spMkLst>
        </pc:spChg>
        <pc:spChg chg="mod">
          <ac:chgData name="Natalie Delgado" userId="7fd1feb95ba999a5" providerId="LiveId" clId="{828A6110-24F7-4285-B616-A197B94C3C38}" dt="2026-06-13T22:48:20.033" v="1076" actId="1076"/>
          <ac:spMkLst>
            <pc:docMk/>
            <pc:sldMk cId="604178557" sldId="2147473277"/>
            <ac:spMk id="11" creationId="{66F6DE41-C899-FC8C-AF16-33969096B8A1}"/>
          </ac:spMkLst>
        </pc:spChg>
        <pc:spChg chg="mod">
          <ac:chgData name="Natalie Delgado" userId="7fd1feb95ba999a5" providerId="LiveId" clId="{828A6110-24F7-4285-B616-A197B94C3C38}" dt="2026-06-13T22:45:23.423" v="1042" actId="1076"/>
          <ac:spMkLst>
            <pc:docMk/>
            <pc:sldMk cId="604178557" sldId="2147473277"/>
            <ac:spMk id="12" creationId="{82743251-20B6-9906-728D-73D5E7945FDE}"/>
          </ac:spMkLst>
        </pc:spChg>
        <pc:spChg chg="add mod">
          <ac:chgData name="Natalie Delgado" userId="7fd1feb95ba999a5" providerId="LiveId" clId="{828A6110-24F7-4285-B616-A197B94C3C38}" dt="2026-06-13T22:47:04.198" v="1063" actId="14100"/>
          <ac:spMkLst>
            <pc:docMk/>
            <pc:sldMk cId="604178557" sldId="2147473277"/>
            <ac:spMk id="15" creationId="{8541E549-AB15-AB93-CD97-25E55A0722C6}"/>
          </ac:spMkLst>
        </pc:spChg>
        <pc:spChg chg="add mod">
          <ac:chgData name="Natalie Delgado" userId="7fd1feb95ba999a5" providerId="LiveId" clId="{828A6110-24F7-4285-B616-A197B94C3C38}" dt="2026-06-13T22:49:37.580" v="1108" actId="113"/>
          <ac:spMkLst>
            <pc:docMk/>
            <pc:sldMk cId="604178557" sldId="2147473277"/>
            <ac:spMk id="18" creationId="{4370D971-E9FC-3A8C-B2BC-07E6F7ED2394}"/>
          </ac:spMkLst>
        </pc:spChg>
        <pc:spChg chg="add mod">
          <ac:chgData name="Natalie Delgado" userId="7fd1feb95ba999a5" providerId="LiveId" clId="{828A6110-24F7-4285-B616-A197B94C3C38}" dt="2026-06-13T22:49:33.622" v="1107" actId="179"/>
          <ac:spMkLst>
            <pc:docMk/>
            <pc:sldMk cId="604178557" sldId="2147473277"/>
            <ac:spMk id="22" creationId="{13B5465A-80F0-0F37-63CA-31ED8917FC8F}"/>
          </ac:spMkLst>
        </pc:spChg>
        <pc:spChg chg="add mod">
          <ac:chgData name="Natalie Delgado" userId="7fd1feb95ba999a5" providerId="LiveId" clId="{828A6110-24F7-4285-B616-A197B94C3C38}" dt="2026-06-13T22:47:32.318" v="1067" actId="1076"/>
          <ac:spMkLst>
            <pc:docMk/>
            <pc:sldMk cId="604178557" sldId="2147473277"/>
            <ac:spMk id="23" creationId="{914BFBE3-3DEC-577A-BCE9-0ACB8C3B7524}"/>
          </ac:spMkLst>
        </pc:spChg>
        <pc:spChg chg="add mod">
          <ac:chgData name="Natalie Delgado" userId="7fd1feb95ba999a5" providerId="LiveId" clId="{828A6110-24F7-4285-B616-A197B94C3C38}" dt="2026-06-13T22:47:59.403" v="1071" actId="571"/>
          <ac:spMkLst>
            <pc:docMk/>
            <pc:sldMk cId="604178557" sldId="2147473277"/>
            <ac:spMk id="24" creationId="{8F34CA00-F4F0-9AF4-F01D-D7E6647E51DA}"/>
          </ac:spMkLst>
        </pc:spChg>
        <pc:spChg chg="add mod">
          <ac:chgData name="Natalie Delgado" userId="7fd1feb95ba999a5" providerId="LiveId" clId="{828A6110-24F7-4285-B616-A197B94C3C38}" dt="2026-06-13T22:52:00.454" v="1128" actId="1076"/>
          <ac:spMkLst>
            <pc:docMk/>
            <pc:sldMk cId="604178557" sldId="2147473277"/>
            <ac:spMk id="25" creationId="{ABF3B689-6F82-FA36-9C38-6AD9E549F91C}"/>
          </ac:spMkLst>
        </pc:spChg>
        <pc:spChg chg="add mod">
          <ac:chgData name="Natalie Delgado" userId="7fd1feb95ba999a5" providerId="LiveId" clId="{828A6110-24F7-4285-B616-A197B94C3C38}" dt="2026-06-13T22:50:04.019" v="1114" actId="14100"/>
          <ac:spMkLst>
            <pc:docMk/>
            <pc:sldMk cId="604178557" sldId="2147473277"/>
            <ac:spMk id="26" creationId="{FA2310C9-FA91-066C-F200-BDEB576AED2A}"/>
          </ac:spMkLst>
        </pc:spChg>
        <pc:spChg chg="add mod">
          <ac:chgData name="Natalie Delgado" userId="7fd1feb95ba999a5" providerId="LiveId" clId="{828A6110-24F7-4285-B616-A197B94C3C38}" dt="2026-06-13T22:51:35.160" v="1125" actId="208"/>
          <ac:spMkLst>
            <pc:docMk/>
            <pc:sldMk cId="604178557" sldId="2147473277"/>
            <ac:spMk id="27" creationId="{2C10AAA7-C64B-0A95-4D3C-F8D44593C0FB}"/>
          </ac:spMkLst>
        </pc:spChg>
        <pc:spChg chg="add mod">
          <ac:chgData name="Natalie Delgado" userId="7fd1feb95ba999a5" providerId="LiveId" clId="{828A6110-24F7-4285-B616-A197B94C3C38}" dt="2026-06-13T22:52:07.418" v="1130" actId="1076"/>
          <ac:spMkLst>
            <pc:docMk/>
            <pc:sldMk cId="604178557" sldId="2147473277"/>
            <ac:spMk id="28" creationId="{48B103E2-F68E-7AE9-66CE-A70D2AD7DA02}"/>
          </ac:spMkLst>
        </pc:spChg>
        <pc:spChg chg="add mod">
          <ac:chgData name="Natalie Delgado" userId="7fd1feb95ba999a5" providerId="LiveId" clId="{828A6110-24F7-4285-B616-A197B94C3C38}" dt="2026-06-13T22:53:25.346" v="1134" actId="571"/>
          <ac:spMkLst>
            <pc:docMk/>
            <pc:sldMk cId="604178557" sldId="2147473277"/>
            <ac:spMk id="29" creationId="{2B188FC0-D4B6-FB06-7462-68C492D3788F}"/>
          </ac:spMkLst>
        </pc:spChg>
        <pc:spChg chg="add mod">
          <ac:chgData name="Natalie Delgado" userId="7fd1feb95ba999a5" providerId="LiveId" clId="{828A6110-24F7-4285-B616-A197B94C3C38}" dt="2026-06-13T22:53:35.681" v="1136" actId="1076"/>
          <ac:spMkLst>
            <pc:docMk/>
            <pc:sldMk cId="604178557" sldId="2147473277"/>
            <ac:spMk id="30" creationId="{2914CC36-3702-C0BA-6D15-46A757D45BB8}"/>
          </ac:spMkLst>
        </pc:spChg>
        <pc:spChg chg="add mod">
          <ac:chgData name="Natalie Delgado" userId="7fd1feb95ba999a5" providerId="LiveId" clId="{828A6110-24F7-4285-B616-A197B94C3C38}" dt="2026-06-13T22:56:26.242" v="1201" actId="20577"/>
          <ac:spMkLst>
            <pc:docMk/>
            <pc:sldMk cId="604178557" sldId="2147473277"/>
            <ac:spMk id="31" creationId="{195EB10F-43E6-B3D4-1EA0-4E4463E62DA3}"/>
          </ac:spMkLst>
        </pc:spChg>
        <pc:graphicFrameChg chg="add mod modGraphic">
          <ac:chgData name="Natalie Delgado" userId="7fd1feb95ba999a5" providerId="LiveId" clId="{828A6110-24F7-4285-B616-A197B94C3C38}" dt="2026-06-13T22:48:14.968" v="1075" actId="14100"/>
          <ac:graphicFrameMkLst>
            <pc:docMk/>
            <pc:sldMk cId="604178557" sldId="2147473277"/>
            <ac:graphicFrameMk id="3" creationId="{7ADED4F7-3A21-D260-0819-41CF03DAFC83}"/>
          </ac:graphicFrameMkLst>
        </pc:graphicFrameChg>
        <pc:graphicFrameChg chg="mod modGraphic">
          <ac:chgData name="Natalie Delgado" userId="7fd1feb95ba999a5" providerId="LiveId" clId="{828A6110-24F7-4285-B616-A197B94C3C38}" dt="2026-06-13T22:43:31.966" v="1003"/>
          <ac:graphicFrameMkLst>
            <pc:docMk/>
            <pc:sldMk cId="604178557" sldId="2147473277"/>
            <ac:graphicFrameMk id="6" creationId="{005FECC4-ACF4-B787-AA1C-8C987B805E96}"/>
          </ac:graphicFrameMkLst>
        </pc:graphicFrameChg>
        <pc:graphicFrameChg chg="add mod modGraphic">
          <ac:chgData name="Natalie Delgado" userId="7fd1feb95ba999a5" providerId="LiveId" clId="{828A6110-24F7-4285-B616-A197B94C3C38}" dt="2026-06-13T22:47:45.301" v="1069" actId="14100"/>
          <ac:graphicFrameMkLst>
            <pc:docMk/>
            <pc:sldMk cId="604178557" sldId="2147473277"/>
            <ac:graphicFrameMk id="16" creationId="{7DB062C2-2685-4622-117D-81923CB3AF95}"/>
          </ac:graphicFrameMkLst>
        </pc:graphicFrameChg>
        <pc:graphicFrameChg chg="add mod modGraphic">
          <ac:chgData name="Natalie Delgado" userId="7fd1feb95ba999a5" providerId="LiveId" clId="{828A6110-24F7-4285-B616-A197B94C3C38}" dt="2026-06-13T22:46:29.388" v="1057" actId="14100"/>
          <ac:graphicFrameMkLst>
            <pc:docMk/>
            <pc:sldMk cId="604178557" sldId="2147473277"/>
            <ac:graphicFrameMk id="20" creationId="{A7BB050B-4016-0770-0B8C-12EAD9CC058D}"/>
          </ac:graphicFrameMkLst>
        </pc:graphicFrameChg>
      </pc:sldChg>
      <pc:sldChg chg="addSp modSp new mod setBg">
        <pc:chgData name="Natalie Delgado" userId="7fd1feb95ba999a5" providerId="LiveId" clId="{828A6110-24F7-4285-B616-A197B94C3C38}" dt="2026-06-18T23:12:08.510" v="1943"/>
        <pc:sldMkLst>
          <pc:docMk/>
          <pc:sldMk cId="127862289" sldId="2147473278"/>
        </pc:sldMkLst>
        <pc:spChg chg="add mod">
          <ac:chgData name="Natalie Delgado" userId="7fd1feb95ba999a5" providerId="LiveId" clId="{828A6110-24F7-4285-B616-A197B94C3C38}" dt="2026-06-18T23:12:08.510" v="1943"/>
          <ac:spMkLst>
            <pc:docMk/>
            <pc:sldMk cId="127862289" sldId="2147473278"/>
            <ac:spMk id="4" creationId="{1FD1CA99-51B9-BC32-ABCF-68EB0E118AA5}"/>
          </ac:spMkLst>
        </pc:spChg>
        <pc:picChg chg="add mod">
          <ac:chgData name="Natalie Delgado" userId="7fd1feb95ba999a5" providerId="LiveId" clId="{828A6110-24F7-4285-B616-A197B94C3C38}" dt="2026-06-13T23:28:35.365" v="1297" actId="1076"/>
          <ac:picMkLst>
            <pc:docMk/>
            <pc:sldMk cId="127862289" sldId="2147473278"/>
            <ac:picMk id="3" creationId="{97E1F563-826B-1E45-37CC-07154951CDDC}"/>
          </ac:picMkLst>
        </pc:picChg>
      </pc:sldChg>
      <pc:sldChg chg="addSp modSp new mod setBg">
        <pc:chgData name="Natalie Delgado" userId="7fd1feb95ba999a5" providerId="LiveId" clId="{828A6110-24F7-4285-B616-A197B94C3C38}" dt="2026-06-13T23:42:22.073" v="1760" actId="255"/>
        <pc:sldMkLst>
          <pc:docMk/>
          <pc:sldMk cId="1160251088" sldId="2147473279"/>
        </pc:sldMkLst>
        <pc:spChg chg="add mod">
          <ac:chgData name="Natalie Delgado" userId="7fd1feb95ba999a5" providerId="LiveId" clId="{828A6110-24F7-4285-B616-A197B94C3C38}" dt="2026-06-13T23:42:22.073" v="1760" actId="255"/>
          <ac:spMkLst>
            <pc:docMk/>
            <pc:sldMk cId="1160251088" sldId="2147473279"/>
            <ac:spMk id="3" creationId="{FC477750-007E-B631-6AC3-3E17E816DE3A}"/>
          </ac:spMkLst>
        </pc:spChg>
        <pc:picChg chg="add mod">
          <ac:chgData name="Natalie Delgado" userId="7fd1feb95ba999a5" providerId="LiveId" clId="{828A6110-24F7-4285-B616-A197B94C3C38}" dt="2026-06-13T23:41:20.914" v="1746" actId="1076"/>
          <ac:picMkLst>
            <pc:docMk/>
            <pc:sldMk cId="1160251088" sldId="2147473279"/>
            <ac:picMk id="5" creationId="{3AB235BE-E20A-7012-A94D-E49B9416C081}"/>
          </ac:picMkLst>
        </pc:picChg>
      </pc:sldChg>
      <pc:sldChg chg="addSp modSp add mod">
        <pc:chgData name="Natalie Delgado" userId="7fd1feb95ba999a5" providerId="LiveId" clId="{828A6110-24F7-4285-B616-A197B94C3C38}" dt="2026-06-13T23:42:05.681" v="1758" actId="12"/>
        <pc:sldMkLst>
          <pc:docMk/>
          <pc:sldMk cId="1672049313" sldId="2147473280"/>
        </pc:sldMkLst>
        <pc:spChg chg="mod">
          <ac:chgData name="Natalie Delgado" userId="7fd1feb95ba999a5" providerId="LiveId" clId="{828A6110-24F7-4285-B616-A197B94C3C38}" dt="2026-06-13T23:41:29.473" v="1749" actId="1076"/>
          <ac:spMkLst>
            <pc:docMk/>
            <pc:sldMk cId="1672049313" sldId="2147473280"/>
            <ac:spMk id="3" creationId="{1D24106A-9671-7943-3B1A-7B1194061F8A}"/>
          </ac:spMkLst>
        </pc:spChg>
        <pc:spChg chg="add mod">
          <ac:chgData name="Natalie Delgado" userId="7fd1feb95ba999a5" providerId="LiveId" clId="{828A6110-24F7-4285-B616-A197B94C3C38}" dt="2026-06-13T23:42:05.681" v="1758" actId="12"/>
          <ac:spMkLst>
            <pc:docMk/>
            <pc:sldMk cId="1672049313" sldId="2147473280"/>
            <ac:spMk id="4" creationId="{2F170F18-D698-75C0-FCAB-5A41AFD34C96}"/>
          </ac:spMkLst>
        </pc:spChg>
        <pc:picChg chg="mod">
          <ac:chgData name="Natalie Delgado" userId="7fd1feb95ba999a5" providerId="LiveId" clId="{828A6110-24F7-4285-B616-A197B94C3C38}" dt="2026-06-13T23:41:33.398" v="1751" actId="1076"/>
          <ac:picMkLst>
            <pc:docMk/>
            <pc:sldMk cId="1672049313" sldId="2147473280"/>
            <ac:picMk id="5" creationId="{C23CB403-5763-F089-5C52-CDAF6793DFF9}"/>
          </ac:picMkLst>
        </pc:picChg>
      </pc:sldChg>
      <pc:sldChg chg="addSp modSp add mod">
        <pc:chgData name="Natalie Delgado" userId="7fd1feb95ba999a5" providerId="LiveId" clId="{828A6110-24F7-4285-B616-A197B94C3C38}" dt="2026-06-13T23:53:57.865" v="1854" actId="113"/>
        <pc:sldMkLst>
          <pc:docMk/>
          <pc:sldMk cId="2800312011" sldId="2147473281"/>
        </pc:sldMkLst>
        <pc:spChg chg="mod">
          <ac:chgData name="Natalie Delgado" userId="7fd1feb95ba999a5" providerId="LiveId" clId="{828A6110-24F7-4285-B616-A197B94C3C38}" dt="2026-06-13T23:53:49.599" v="1852" actId="20577"/>
          <ac:spMkLst>
            <pc:docMk/>
            <pc:sldMk cId="2800312011" sldId="2147473281"/>
            <ac:spMk id="4" creationId="{566E8D5A-869F-C457-4BA9-700201155E6A}"/>
          </ac:spMkLst>
        </pc:spChg>
        <pc:spChg chg="add mod">
          <ac:chgData name="Natalie Delgado" userId="7fd1feb95ba999a5" providerId="LiveId" clId="{828A6110-24F7-4285-B616-A197B94C3C38}" dt="2026-06-13T23:53:57.865" v="1854" actId="113"/>
          <ac:spMkLst>
            <pc:docMk/>
            <pc:sldMk cId="2800312011" sldId="2147473281"/>
            <ac:spMk id="6" creationId="{ADC25F94-975F-DD7B-D50E-CCB9AE5FD727}"/>
          </ac:spMkLst>
        </pc:spChg>
        <pc:picChg chg="mod">
          <ac:chgData name="Natalie Delgado" userId="7fd1feb95ba999a5" providerId="LiveId" clId="{828A6110-24F7-4285-B616-A197B94C3C38}" dt="2026-06-13T23:47:50.997" v="1766" actId="1076"/>
          <ac:picMkLst>
            <pc:docMk/>
            <pc:sldMk cId="2800312011" sldId="2147473281"/>
            <ac:picMk id="3" creationId="{AACC0B93-31E2-E80F-640B-A2756D539DE8}"/>
          </ac:picMkLst>
        </pc:picChg>
        <pc:picChg chg="add mod">
          <ac:chgData name="Natalie Delgado" userId="7fd1feb95ba999a5" providerId="LiveId" clId="{828A6110-24F7-4285-B616-A197B94C3C38}" dt="2026-06-13T23:48:03.952" v="1770" actId="1076"/>
          <ac:picMkLst>
            <pc:docMk/>
            <pc:sldMk cId="2800312011" sldId="2147473281"/>
            <ac:picMk id="5" creationId="{157C1CF3-F8D2-859B-10FD-51D598EAFCEE}"/>
          </ac:picMkLst>
        </pc:picChg>
      </pc:sldChg>
      <pc:sldChg chg="delSp modSp add mod">
        <pc:chgData name="Natalie Delgado" userId="7fd1feb95ba999a5" providerId="LiveId" clId="{828A6110-24F7-4285-B616-A197B94C3C38}" dt="2026-06-13T23:51:43.207" v="1835" actId="1076"/>
        <pc:sldMkLst>
          <pc:docMk/>
          <pc:sldMk cId="2056212066" sldId="2147473282"/>
        </pc:sldMkLst>
        <pc:spChg chg="mod">
          <ac:chgData name="Natalie Delgado" userId="7fd1feb95ba999a5" providerId="LiveId" clId="{828A6110-24F7-4285-B616-A197B94C3C38}" dt="2026-06-13T23:51:43.207" v="1835" actId="1076"/>
          <ac:spMkLst>
            <pc:docMk/>
            <pc:sldMk cId="2056212066" sldId="2147473282"/>
            <ac:spMk id="5" creationId="{8C7A9E98-C12D-FF30-AC7F-E3F078CF07E8}"/>
          </ac:spMkLst>
        </pc:spChg>
        <pc:spChg chg="mod">
          <ac:chgData name="Natalie Delgado" userId="7fd1feb95ba999a5" providerId="LiveId" clId="{828A6110-24F7-4285-B616-A197B94C3C38}" dt="2026-06-13T23:51:43.207" v="1835" actId="1076"/>
          <ac:spMkLst>
            <pc:docMk/>
            <pc:sldMk cId="2056212066" sldId="2147473282"/>
            <ac:spMk id="7" creationId="{882EC7B2-B7C5-9541-A7CD-EEA06641154A}"/>
          </ac:spMkLst>
        </pc:spChg>
        <pc:spChg chg="mod">
          <ac:chgData name="Natalie Delgado" userId="7fd1feb95ba999a5" providerId="LiveId" clId="{828A6110-24F7-4285-B616-A197B94C3C38}" dt="2026-06-13T23:51:43.207" v="1835" actId="1076"/>
          <ac:spMkLst>
            <pc:docMk/>
            <pc:sldMk cId="2056212066" sldId="2147473282"/>
            <ac:spMk id="8" creationId="{DEAFA3E3-0B99-6C8B-B192-9540BD568560}"/>
          </ac:spMkLst>
        </pc:spChg>
        <pc:picChg chg="mod">
          <ac:chgData name="Natalie Delgado" userId="7fd1feb95ba999a5" providerId="LiveId" clId="{828A6110-24F7-4285-B616-A197B94C3C38}" dt="2026-06-13T23:51:43.207" v="1835" actId="1076"/>
          <ac:picMkLst>
            <pc:docMk/>
            <pc:sldMk cId="2056212066" sldId="2147473282"/>
            <ac:picMk id="10" creationId="{810BE0BA-48A8-A4F2-ED5B-8D7E630566E9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429C7FAB-A6F5-457E-80DF-B78DB72E0412}">
      <dgm:prSet phldrT="[Texto]"/>
      <dgm:spPr/>
      <dgm:t>
        <a:bodyPr/>
        <a:lstStyle/>
        <a:p>
          <a:r>
            <a:rPr lang="es-CL"/>
            <a:t>Proyecto</a:t>
          </a:r>
          <a:endParaRPr lang="es-CL" dirty="0"/>
        </a:p>
      </dgm:t>
    </dgm:pt>
    <dgm:pt modelId="{F402BD7E-0A33-48CB-B8B0-6208DAFE0942}" type="parTrans" cxnId="{D59960DF-535F-44B3-9F0E-C40BC3BC77B6}">
      <dgm:prSet/>
      <dgm:spPr/>
      <dgm:t>
        <a:bodyPr/>
        <a:lstStyle/>
        <a:p>
          <a:endParaRPr lang="es-CL"/>
        </a:p>
      </dgm:t>
    </dgm:pt>
    <dgm:pt modelId="{18DF3A94-50D0-40BF-90C8-B0B00E142677}" type="sibTrans" cxnId="{D59960DF-535F-44B3-9F0E-C40BC3BC77B6}">
      <dgm:prSet/>
      <dgm:spPr/>
      <dgm:t>
        <a:bodyPr/>
        <a:lstStyle/>
        <a:p>
          <a:endParaRPr lang="es-CL"/>
        </a:p>
      </dgm:t>
    </dgm:pt>
    <dgm:pt modelId="{B947655A-784A-4734-8AA8-605E1F9B9399}">
      <dgm:prSet/>
      <dgm:spPr/>
      <dgm:t>
        <a:bodyPr/>
        <a:lstStyle/>
        <a:p>
          <a:r>
            <a:rPr lang="es-CL" dirty="0"/>
            <a:t>Fases</a:t>
          </a:r>
        </a:p>
      </dgm:t>
    </dgm:pt>
    <dgm:pt modelId="{15E7C653-F57C-40EA-A129-2E5D15382D55}" type="parTrans" cxnId="{5DF9029A-5F7E-41BF-9A42-4E239F8F9E9F}">
      <dgm:prSet/>
      <dgm:spPr/>
      <dgm:t>
        <a:bodyPr/>
        <a:lstStyle/>
        <a:p>
          <a:endParaRPr lang="es-CL"/>
        </a:p>
      </dgm:t>
    </dgm:pt>
    <dgm:pt modelId="{55EA4D0A-CFF5-440B-A1A9-B2EEAEA028B1}" type="sibTrans" cxnId="{5DF9029A-5F7E-41BF-9A42-4E239F8F9E9F}">
      <dgm:prSet/>
      <dgm:spPr/>
      <dgm:t>
        <a:bodyPr/>
        <a:lstStyle/>
        <a:p>
          <a:endParaRPr lang="es-CL"/>
        </a:p>
      </dgm:t>
    </dgm:pt>
    <dgm:pt modelId="{DCF35915-4115-4D14-9496-311E265F7434}">
      <dgm:prSet/>
      <dgm:spPr/>
      <dgm:t>
        <a:bodyPr/>
        <a:lstStyle/>
        <a:p>
          <a:r>
            <a:rPr lang="es-CL" dirty="0" err="1"/>
            <a:t>Subtactividades</a:t>
          </a:r>
          <a:endParaRPr lang="es-CL" dirty="0"/>
        </a:p>
      </dgm:t>
    </dgm:pt>
    <dgm:pt modelId="{69134835-6356-42B2-87D4-0E11F6465E50}" type="parTrans" cxnId="{804A618B-C13D-4F65-9ACC-8CFD9A648AE5}">
      <dgm:prSet/>
      <dgm:spPr/>
      <dgm:t>
        <a:bodyPr/>
        <a:lstStyle/>
        <a:p>
          <a:endParaRPr lang="es-CL"/>
        </a:p>
      </dgm:t>
    </dgm:pt>
    <dgm:pt modelId="{7EB6F33B-4977-4B17-B680-D673E1CC3A28}" type="sibTrans" cxnId="{804A618B-C13D-4F65-9ACC-8CFD9A648AE5}">
      <dgm:prSet/>
      <dgm:spPr/>
      <dgm:t>
        <a:bodyPr/>
        <a:lstStyle/>
        <a:p>
          <a:endParaRPr lang="es-CL"/>
        </a:p>
      </dgm:t>
    </dgm:pt>
    <dgm:pt modelId="{60403D1B-FDEA-413B-8A8B-320706E6D3EC}">
      <dgm:prSet/>
      <dgm:spPr/>
      <dgm:t>
        <a:bodyPr/>
        <a:lstStyle/>
        <a:p>
          <a:r>
            <a:rPr lang="es-CL"/>
            <a:t>Actividades</a:t>
          </a:r>
          <a:endParaRPr lang="es-CL" dirty="0"/>
        </a:p>
      </dgm:t>
    </dgm:pt>
    <dgm:pt modelId="{ECCB4EF7-C75C-46BF-B2D6-CFF5F35BC26B}" type="parTrans" cxnId="{A27E2EF8-470F-4F73-9EA6-99AF72E70494}">
      <dgm:prSet/>
      <dgm:spPr/>
      <dgm:t>
        <a:bodyPr/>
        <a:lstStyle/>
        <a:p>
          <a:endParaRPr lang="es-CL"/>
        </a:p>
      </dgm:t>
    </dgm:pt>
    <dgm:pt modelId="{E78FFB73-6A64-41B4-9D8D-261F312D25EF}" type="sibTrans" cxnId="{A27E2EF8-470F-4F73-9EA6-99AF72E70494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CC7FC4F1-B221-4808-B8D5-890EFAEC9FA0}" type="pres">
      <dgm:prSet presAssocID="{DA3D35A3-A9F6-4620-8DD5-9E467488AB84}" presName="FourNodes_1" presStyleLbl="node1" presStyleIdx="0" presStyleCnt="4">
        <dgm:presLayoutVars>
          <dgm:bulletEnabled val="1"/>
        </dgm:presLayoutVars>
      </dgm:prSet>
      <dgm:spPr/>
    </dgm:pt>
    <dgm:pt modelId="{8B3EA497-1340-481E-A325-7B7A11CA77C6}" type="pres">
      <dgm:prSet presAssocID="{DA3D35A3-A9F6-4620-8DD5-9E467488AB84}" presName="FourNodes_2" presStyleLbl="node1" presStyleIdx="1" presStyleCnt="4">
        <dgm:presLayoutVars>
          <dgm:bulletEnabled val="1"/>
        </dgm:presLayoutVars>
      </dgm:prSet>
      <dgm:spPr/>
    </dgm:pt>
    <dgm:pt modelId="{15733CA0-E001-4D66-AA5E-5CCCA5D074BD}" type="pres">
      <dgm:prSet presAssocID="{DA3D35A3-A9F6-4620-8DD5-9E467488AB84}" presName="FourNodes_3" presStyleLbl="node1" presStyleIdx="2" presStyleCnt="4">
        <dgm:presLayoutVars>
          <dgm:bulletEnabled val="1"/>
        </dgm:presLayoutVars>
      </dgm:prSet>
      <dgm:spPr/>
    </dgm:pt>
    <dgm:pt modelId="{2ED8F754-C697-47C0-BBE1-8FD55EC5ECB5}" type="pres">
      <dgm:prSet presAssocID="{DA3D35A3-A9F6-4620-8DD5-9E467488AB84}" presName="FourNodes_4" presStyleLbl="node1" presStyleIdx="3" presStyleCnt="4">
        <dgm:presLayoutVars>
          <dgm:bulletEnabled val="1"/>
        </dgm:presLayoutVars>
      </dgm:prSet>
      <dgm:spPr/>
    </dgm:pt>
    <dgm:pt modelId="{D1B60FB6-D4B2-446F-8E7F-89C650FDCC59}" type="pres">
      <dgm:prSet presAssocID="{DA3D35A3-A9F6-4620-8DD5-9E467488AB84}" presName="FourConn_1-2" presStyleLbl="fgAccFollowNode1" presStyleIdx="0" presStyleCnt="3">
        <dgm:presLayoutVars>
          <dgm:bulletEnabled val="1"/>
        </dgm:presLayoutVars>
      </dgm:prSet>
      <dgm:spPr/>
    </dgm:pt>
    <dgm:pt modelId="{34B150A2-C974-4486-839D-A8E046B7FD1A}" type="pres">
      <dgm:prSet presAssocID="{DA3D35A3-A9F6-4620-8DD5-9E467488AB84}" presName="FourConn_2-3" presStyleLbl="fgAccFollowNode1" presStyleIdx="1" presStyleCnt="3">
        <dgm:presLayoutVars>
          <dgm:bulletEnabled val="1"/>
        </dgm:presLayoutVars>
      </dgm:prSet>
      <dgm:spPr/>
    </dgm:pt>
    <dgm:pt modelId="{544160FE-1BC8-4B7E-9C53-728385E90BC9}" type="pres">
      <dgm:prSet presAssocID="{DA3D35A3-A9F6-4620-8DD5-9E467488AB84}" presName="FourConn_3-4" presStyleLbl="fgAccFollowNode1" presStyleIdx="2" presStyleCnt="3">
        <dgm:presLayoutVars>
          <dgm:bulletEnabled val="1"/>
        </dgm:presLayoutVars>
      </dgm:prSet>
      <dgm:spPr/>
    </dgm:pt>
    <dgm:pt modelId="{8797C0CA-C80E-40DD-AFAD-DDCC8CBF25A2}" type="pres">
      <dgm:prSet presAssocID="{DA3D35A3-A9F6-4620-8DD5-9E467488AB84}" presName="FourNodes_1_text" presStyleLbl="node1" presStyleIdx="3" presStyleCnt="4">
        <dgm:presLayoutVars>
          <dgm:bulletEnabled val="1"/>
        </dgm:presLayoutVars>
      </dgm:prSet>
      <dgm:spPr/>
    </dgm:pt>
    <dgm:pt modelId="{DCA72A94-F6D3-4B7E-9DB0-BB5C4758E439}" type="pres">
      <dgm:prSet presAssocID="{DA3D35A3-A9F6-4620-8DD5-9E467488AB84}" presName="FourNodes_2_text" presStyleLbl="node1" presStyleIdx="3" presStyleCnt="4">
        <dgm:presLayoutVars>
          <dgm:bulletEnabled val="1"/>
        </dgm:presLayoutVars>
      </dgm:prSet>
      <dgm:spPr/>
    </dgm:pt>
    <dgm:pt modelId="{A07457E5-D1B3-49BD-8A52-58D9C50E53EA}" type="pres">
      <dgm:prSet presAssocID="{DA3D35A3-A9F6-4620-8DD5-9E467488AB84}" presName="FourNodes_3_text" presStyleLbl="node1" presStyleIdx="3" presStyleCnt="4">
        <dgm:presLayoutVars>
          <dgm:bulletEnabled val="1"/>
        </dgm:presLayoutVars>
      </dgm:prSet>
      <dgm:spPr/>
    </dgm:pt>
    <dgm:pt modelId="{5F3BB915-2B5E-4164-B9C4-5F8BB8E18E8A}" type="pres">
      <dgm:prSet presAssocID="{DA3D35A3-A9F6-4620-8DD5-9E467488AB84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FA82F713-EE5A-4ADC-ADF3-C8D31A2B47F3}" type="presOf" srcId="{55EA4D0A-CFF5-440B-A1A9-B2EEAEA028B1}" destId="{34B150A2-C974-4486-839D-A8E046B7FD1A}" srcOrd="0" destOrd="0" presId="urn:microsoft.com/office/officeart/2005/8/layout/vProcess5"/>
    <dgm:cxn modelId="{01418719-A8F8-4517-B201-C2DF77829496}" type="presOf" srcId="{60403D1B-FDEA-413B-8A8B-320706E6D3EC}" destId="{15733CA0-E001-4D66-AA5E-5CCCA5D074BD}" srcOrd="0" destOrd="0" presId="urn:microsoft.com/office/officeart/2005/8/layout/vProcess5"/>
    <dgm:cxn modelId="{CDFBB030-6B33-48F6-894E-3F1059D45417}" type="presOf" srcId="{DCF35915-4115-4D14-9496-311E265F7434}" destId="{2ED8F754-C697-47C0-BBE1-8FD55EC5ECB5}" srcOrd="0" destOrd="0" presId="urn:microsoft.com/office/officeart/2005/8/layout/vProcess5"/>
    <dgm:cxn modelId="{BFE09F6B-1DC5-4B6C-9CD1-0BA6C35CE299}" type="presOf" srcId="{B947655A-784A-4734-8AA8-605E1F9B9399}" destId="{8B3EA497-1340-481E-A325-7B7A11CA77C6}" srcOrd="0" destOrd="0" presId="urn:microsoft.com/office/officeart/2005/8/layout/vProcess5"/>
    <dgm:cxn modelId="{134FD972-1626-4167-81A2-16C265D8B041}" type="presOf" srcId="{429C7FAB-A6F5-457E-80DF-B78DB72E0412}" destId="{CC7FC4F1-B221-4808-B8D5-890EFAEC9FA0}" srcOrd="0" destOrd="0" presId="urn:microsoft.com/office/officeart/2005/8/layout/vProcess5"/>
    <dgm:cxn modelId="{28CFAA76-080A-4A7E-858A-E18269B7CB9C}" type="presOf" srcId="{E78FFB73-6A64-41B4-9D8D-261F312D25EF}" destId="{544160FE-1BC8-4B7E-9C53-728385E90BC9}" srcOrd="0" destOrd="0" presId="urn:microsoft.com/office/officeart/2005/8/layout/vProcess5"/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804A618B-C13D-4F65-9ACC-8CFD9A648AE5}" srcId="{DA3D35A3-A9F6-4620-8DD5-9E467488AB84}" destId="{DCF35915-4115-4D14-9496-311E265F7434}" srcOrd="3" destOrd="0" parTransId="{69134835-6356-42B2-87D4-0E11F6465E50}" sibTransId="{7EB6F33B-4977-4B17-B680-D673E1CC3A28}"/>
    <dgm:cxn modelId="{5DF9029A-5F7E-41BF-9A42-4E239F8F9E9F}" srcId="{DA3D35A3-A9F6-4620-8DD5-9E467488AB84}" destId="{B947655A-784A-4734-8AA8-605E1F9B9399}" srcOrd="1" destOrd="0" parTransId="{15E7C653-F57C-40EA-A129-2E5D15382D55}" sibTransId="{55EA4D0A-CFF5-440B-A1A9-B2EEAEA028B1}"/>
    <dgm:cxn modelId="{D5D0C39F-4D19-4889-A150-8538FABC4136}" type="presOf" srcId="{B947655A-784A-4734-8AA8-605E1F9B9399}" destId="{DCA72A94-F6D3-4B7E-9DB0-BB5C4758E439}" srcOrd="1" destOrd="0" presId="urn:microsoft.com/office/officeart/2005/8/layout/vProcess5"/>
    <dgm:cxn modelId="{C1EDD1CD-A047-4D7A-9D8F-1AACA9BFC5DF}" type="presOf" srcId="{18DF3A94-50D0-40BF-90C8-B0B00E142677}" destId="{D1B60FB6-D4B2-446F-8E7F-89C650FDCC59}" srcOrd="0" destOrd="0" presId="urn:microsoft.com/office/officeart/2005/8/layout/vProcess5"/>
    <dgm:cxn modelId="{5F1F51DD-9337-4FA3-A50F-2CA4EBC5C773}" type="presOf" srcId="{429C7FAB-A6F5-457E-80DF-B78DB72E0412}" destId="{8797C0CA-C80E-40DD-AFAD-DDCC8CBF25A2}" srcOrd="1" destOrd="0" presId="urn:microsoft.com/office/officeart/2005/8/layout/vProcess5"/>
    <dgm:cxn modelId="{61C406DE-E7A0-4F55-8B7B-D5327FDDD11F}" type="presOf" srcId="{DCF35915-4115-4D14-9496-311E265F7434}" destId="{5F3BB915-2B5E-4164-B9C4-5F8BB8E18E8A}" srcOrd="1" destOrd="0" presId="urn:microsoft.com/office/officeart/2005/8/layout/vProcess5"/>
    <dgm:cxn modelId="{D59960DF-535F-44B3-9F0E-C40BC3BC77B6}" srcId="{DA3D35A3-A9F6-4620-8DD5-9E467488AB84}" destId="{429C7FAB-A6F5-457E-80DF-B78DB72E0412}" srcOrd="0" destOrd="0" parTransId="{F402BD7E-0A33-48CB-B8B0-6208DAFE0942}" sibTransId="{18DF3A94-50D0-40BF-90C8-B0B00E142677}"/>
    <dgm:cxn modelId="{4EBC8CE0-2014-4140-8ED6-28FFCC650D25}" type="presOf" srcId="{60403D1B-FDEA-413B-8A8B-320706E6D3EC}" destId="{A07457E5-D1B3-49BD-8A52-58D9C50E53EA}" srcOrd="1" destOrd="0" presId="urn:microsoft.com/office/officeart/2005/8/layout/vProcess5"/>
    <dgm:cxn modelId="{A27E2EF8-470F-4F73-9EA6-99AF72E70494}" srcId="{DA3D35A3-A9F6-4620-8DD5-9E467488AB84}" destId="{60403D1B-FDEA-413B-8A8B-320706E6D3EC}" srcOrd="2" destOrd="0" parTransId="{ECCB4EF7-C75C-46BF-B2D6-CFF5F35BC26B}" sibTransId="{E78FFB73-6A64-41B4-9D8D-261F312D25EF}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F6C6C161-2197-48A7-91CD-D6A450D83542}" type="presParOf" srcId="{81F4CCE6-E166-45AE-A525-AC154AED6252}" destId="{CC7FC4F1-B221-4808-B8D5-890EFAEC9FA0}" srcOrd="1" destOrd="0" presId="urn:microsoft.com/office/officeart/2005/8/layout/vProcess5"/>
    <dgm:cxn modelId="{7D63D250-D2CF-49D5-B1C3-ECE44F496EAB}" type="presParOf" srcId="{81F4CCE6-E166-45AE-A525-AC154AED6252}" destId="{8B3EA497-1340-481E-A325-7B7A11CA77C6}" srcOrd="2" destOrd="0" presId="urn:microsoft.com/office/officeart/2005/8/layout/vProcess5"/>
    <dgm:cxn modelId="{252900EF-DCD5-4698-9314-5282FB567A77}" type="presParOf" srcId="{81F4CCE6-E166-45AE-A525-AC154AED6252}" destId="{15733CA0-E001-4D66-AA5E-5CCCA5D074BD}" srcOrd="3" destOrd="0" presId="urn:microsoft.com/office/officeart/2005/8/layout/vProcess5"/>
    <dgm:cxn modelId="{079EEDF9-98ED-4039-B42D-81D02191363D}" type="presParOf" srcId="{81F4CCE6-E166-45AE-A525-AC154AED6252}" destId="{2ED8F754-C697-47C0-BBE1-8FD55EC5ECB5}" srcOrd="4" destOrd="0" presId="urn:microsoft.com/office/officeart/2005/8/layout/vProcess5"/>
    <dgm:cxn modelId="{192E76B1-B69A-4CF8-9D20-7D9FD0450A1B}" type="presParOf" srcId="{81F4CCE6-E166-45AE-A525-AC154AED6252}" destId="{D1B60FB6-D4B2-446F-8E7F-89C650FDCC59}" srcOrd="5" destOrd="0" presId="urn:microsoft.com/office/officeart/2005/8/layout/vProcess5"/>
    <dgm:cxn modelId="{007C516E-6742-45D0-9AE9-C2496431D741}" type="presParOf" srcId="{81F4CCE6-E166-45AE-A525-AC154AED6252}" destId="{34B150A2-C974-4486-839D-A8E046B7FD1A}" srcOrd="6" destOrd="0" presId="urn:microsoft.com/office/officeart/2005/8/layout/vProcess5"/>
    <dgm:cxn modelId="{7A80FB47-503C-44B6-8088-EA2021DC1916}" type="presParOf" srcId="{81F4CCE6-E166-45AE-A525-AC154AED6252}" destId="{544160FE-1BC8-4B7E-9C53-728385E90BC9}" srcOrd="7" destOrd="0" presId="urn:microsoft.com/office/officeart/2005/8/layout/vProcess5"/>
    <dgm:cxn modelId="{E2107819-9CE0-4265-BB54-18A9F4AFF229}" type="presParOf" srcId="{81F4CCE6-E166-45AE-A525-AC154AED6252}" destId="{8797C0CA-C80E-40DD-AFAD-DDCC8CBF25A2}" srcOrd="8" destOrd="0" presId="urn:microsoft.com/office/officeart/2005/8/layout/vProcess5"/>
    <dgm:cxn modelId="{804D82DC-9AE6-4F34-B950-C9C4DCEC84AE}" type="presParOf" srcId="{81F4CCE6-E166-45AE-A525-AC154AED6252}" destId="{DCA72A94-F6D3-4B7E-9DB0-BB5C4758E439}" srcOrd="9" destOrd="0" presId="urn:microsoft.com/office/officeart/2005/8/layout/vProcess5"/>
    <dgm:cxn modelId="{EEAC8263-AEDC-4353-AB0B-F04BFEFB96FC}" type="presParOf" srcId="{81F4CCE6-E166-45AE-A525-AC154AED6252}" destId="{A07457E5-D1B3-49BD-8A52-58D9C50E53EA}" srcOrd="10" destOrd="0" presId="urn:microsoft.com/office/officeart/2005/8/layout/vProcess5"/>
    <dgm:cxn modelId="{62DB416B-9585-4C84-B87B-5092CDBE89C9}" type="presParOf" srcId="{81F4CCE6-E166-45AE-A525-AC154AED6252}" destId="{5F3BB915-2B5E-4164-B9C4-5F8BB8E18E8A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429C7FAB-A6F5-457E-80DF-B78DB72E0412}">
      <dgm:prSet phldrT="[Texto]"/>
      <dgm:spPr/>
      <dgm:t>
        <a:bodyPr/>
        <a:lstStyle/>
        <a:p>
          <a:r>
            <a:rPr lang="es-CL"/>
            <a:t>Proyecto</a:t>
          </a:r>
          <a:endParaRPr lang="es-CL" dirty="0"/>
        </a:p>
      </dgm:t>
    </dgm:pt>
    <dgm:pt modelId="{F402BD7E-0A33-48CB-B8B0-6208DAFE0942}" type="parTrans" cxnId="{D59960DF-535F-44B3-9F0E-C40BC3BC77B6}">
      <dgm:prSet/>
      <dgm:spPr/>
      <dgm:t>
        <a:bodyPr/>
        <a:lstStyle/>
        <a:p>
          <a:endParaRPr lang="es-CL"/>
        </a:p>
      </dgm:t>
    </dgm:pt>
    <dgm:pt modelId="{18DF3A94-50D0-40BF-90C8-B0B00E142677}" type="sibTrans" cxnId="{D59960DF-535F-44B3-9F0E-C40BC3BC77B6}">
      <dgm:prSet/>
      <dgm:spPr/>
      <dgm:t>
        <a:bodyPr/>
        <a:lstStyle/>
        <a:p>
          <a:endParaRPr lang="es-CL"/>
        </a:p>
      </dgm:t>
    </dgm:pt>
    <dgm:pt modelId="{B947655A-784A-4734-8AA8-605E1F9B9399}">
      <dgm:prSet/>
      <dgm:spPr/>
      <dgm:t>
        <a:bodyPr/>
        <a:lstStyle/>
        <a:p>
          <a:r>
            <a:rPr lang="es-CL" dirty="0"/>
            <a:t>Fases</a:t>
          </a:r>
        </a:p>
      </dgm:t>
    </dgm:pt>
    <dgm:pt modelId="{15E7C653-F57C-40EA-A129-2E5D15382D55}" type="parTrans" cxnId="{5DF9029A-5F7E-41BF-9A42-4E239F8F9E9F}">
      <dgm:prSet/>
      <dgm:spPr/>
      <dgm:t>
        <a:bodyPr/>
        <a:lstStyle/>
        <a:p>
          <a:endParaRPr lang="es-CL"/>
        </a:p>
      </dgm:t>
    </dgm:pt>
    <dgm:pt modelId="{55EA4D0A-CFF5-440B-A1A9-B2EEAEA028B1}" type="sibTrans" cxnId="{5DF9029A-5F7E-41BF-9A42-4E239F8F9E9F}">
      <dgm:prSet/>
      <dgm:spPr/>
      <dgm:t>
        <a:bodyPr/>
        <a:lstStyle/>
        <a:p>
          <a:endParaRPr lang="es-CL"/>
        </a:p>
      </dgm:t>
    </dgm:pt>
    <dgm:pt modelId="{DCF35915-4115-4D14-9496-311E265F7434}">
      <dgm:prSet/>
      <dgm:spPr/>
      <dgm:t>
        <a:bodyPr/>
        <a:lstStyle/>
        <a:p>
          <a:r>
            <a:rPr lang="es-CL" dirty="0" err="1"/>
            <a:t>Subtactividades</a:t>
          </a:r>
          <a:endParaRPr lang="es-CL" dirty="0"/>
        </a:p>
      </dgm:t>
    </dgm:pt>
    <dgm:pt modelId="{69134835-6356-42B2-87D4-0E11F6465E50}" type="parTrans" cxnId="{804A618B-C13D-4F65-9ACC-8CFD9A648AE5}">
      <dgm:prSet/>
      <dgm:spPr/>
      <dgm:t>
        <a:bodyPr/>
        <a:lstStyle/>
        <a:p>
          <a:endParaRPr lang="es-CL"/>
        </a:p>
      </dgm:t>
    </dgm:pt>
    <dgm:pt modelId="{7EB6F33B-4977-4B17-B680-D673E1CC3A28}" type="sibTrans" cxnId="{804A618B-C13D-4F65-9ACC-8CFD9A648AE5}">
      <dgm:prSet/>
      <dgm:spPr/>
      <dgm:t>
        <a:bodyPr/>
        <a:lstStyle/>
        <a:p>
          <a:endParaRPr lang="es-CL"/>
        </a:p>
      </dgm:t>
    </dgm:pt>
    <dgm:pt modelId="{60403D1B-FDEA-413B-8A8B-320706E6D3EC}">
      <dgm:prSet/>
      <dgm:spPr/>
      <dgm:t>
        <a:bodyPr/>
        <a:lstStyle/>
        <a:p>
          <a:r>
            <a:rPr lang="es-CL"/>
            <a:t>Actividades</a:t>
          </a:r>
          <a:endParaRPr lang="es-CL" dirty="0"/>
        </a:p>
      </dgm:t>
    </dgm:pt>
    <dgm:pt modelId="{ECCB4EF7-C75C-46BF-B2D6-CFF5F35BC26B}" type="parTrans" cxnId="{A27E2EF8-470F-4F73-9EA6-99AF72E70494}">
      <dgm:prSet/>
      <dgm:spPr/>
      <dgm:t>
        <a:bodyPr/>
        <a:lstStyle/>
        <a:p>
          <a:endParaRPr lang="es-CL"/>
        </a:p>
      </dgm:t>
    </dgm:pt>
    <dgm:pt modelId="{E78FFB73-6A64-41B4-9D8D-261F312D25EF}" type="sibTrans" cxnId="{A27E2EF8-470F-4F73-9EA6-99AF72E70494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CC7FC4F1-B221-4808-B8D5-890EFAEC9FA0}" type="pres">
      <dgm:prSet presAssocID="{DA3D35A3-A9F6-4620-8DD5-9E467488AB84}" presName="FourNodes_1" presStyleLbl="node1" presStyleIdx="0" presStyleCnt="4" custLinFactNeighborX="-1128" custLinFactNeighborY="3223">
        <dgm:presLayoutVars>
          <dgm:bulletEnabled val="1"/>
        </dgm:presLayoutVars>
      </dgm:prSet>
      <dgm:spPr/>
    </dgm:pt>
    <dgm:pt modelId="{8B3EA497-1340-481E-A325-7B7A11CA77C6}" type="pres">
      <dgm:prSet presAssocID="{DA3D35A3-A9F6-4620-8DD5-9E467488AB84}" presName="FourNodes_2" presStyleLbl="node1" presStyleIdx="1" presStyleCnt="4">
        <dgm:presLayoutVars>
          <dgm:bulletEnabled val="1"/>
        </dgm:presLayoutVars>
      </dgm:prSet>
      <dgm:spPr/>
    </dgm:pt>
    <dgm:pt modelId="{15733CA0-E001-4D66-AA5E-5CCCA5D074BD}" type="pres">
      <dgm:prSet presAssocID="{DA3D35A3-A9F6-4620-8DD5-9E467488AB84}" presName="FourNodes_3" presStyleLbl="node1" presStyleIdx="2" presStyleCnt="4">
        <dgm:presLayoutVars>
          <dgm:bulletEnabled val="1"/>
        </dgm:presLayoutVars>
      </dgm:prSet>
      <dgm:spPr/>
    </dgm:pt>
    <dgm:pt modelId="{2ED8F754-C697-47C0-BBE1-8FD55EC5ECB5}" type="pres">
      <dgm:prSet presAssocID="{DA3D35A3-A9F6-4620-8DD5-9E467488AB84}" presName="FourNodes_4" presStyleLbl="node1" presStyleIdx="3" presStyleCnt="4">
        <dgm:presLayoutVars>
          <dgm:bulletEnabled val="1"/>
        </dgm:presLayoutVars>
      </dgm:prSet>
      <dgm:spPr/>
    </dgm:pt>
    <dgm:pt modelId="{D1B60FB6-D4B2-446F-8E7F-89C650FDCC59}" type="pres">
      <dgm:prSet presAssocID="{DA3D35A3-A9F6-4620-8DD5-9E467488AB84}" presName="FourConn_1-2" presStyleLbl="fgAccFollowNode1" presStyleIdx="0" presStyleCnt="3">
        <dgm:presLayoutVars>
          <dgm:bulletEnabled val="1"/>
        </dgm:presLayoutVars>
      </dgm:prSet>
      <dgm:spPr/>
    </dgm:pt>
    <dgm:pt modelId="{34B150A2-C974-4486-839D-A8E046B7FD1A}" type="pres">
      <dgm:prSet presAssocID="{DA3D35A3-A9F6-4620-8DD5-9E467488AB84}" presName="FourConn_2-3" presStyleLbl="fgAccFollowNode1" presStyleIdx="1" presStyleCnt="3">
        <dgm:presLayoutVars>
          <dgm:bulletEnabled val="1"/>
        </dgm:presLayoutVars>
      </dgm:prSet>
      <dgm:spPr/>
    </dgm:pt>
    <dgm:pt modelId="{544160FE-1BC8-4B7E-9C53-728385E90BC9}" type="pres">
      <dgm:prSet presAssocID="{DA3D35A3-A9F6-4620-8DD5-9E467488AB84}" presName="FourConn_3-4" presStyleLbl="fgAccFollowNode1" presStyleIdx="2" presStyleCnt="3">
        <dgm:presLayoutVars>
          <dgm:bulletEnabled val="1"/>
        </dgm:presLayoutVars>
      </dgm:prSet>
      <dgm:spPr/>
    </dgm:pt>
    <dgm:pt modelId="{8797C0CA-C80E-40DD-AFAD-DDCC8CBF25A2}" type="pres">
      <dgm:prSet presAssocID="{DA3D35A3-A9F6-4620-8DD5-9E467488AB84}" presName="FourNodes_1_text" presStyleLbl="node1" presStyleIdx="3" presStyleCnt="4">
        <dgm:presLayoutVars>
          <dgm:bulletEnabled val="1"/>
        </dgm:presLayoutVars>
      </dgm:prSet>
      <dgm:spPr/>
    </dgm:pt>
    <dgm:pt modelId="{DCA72A94-F6D3-4B7E-9DB0-BB5C4758E439}" type="pres">
      <dgm:prSet presAssocID="{DA3D35A3-A9F6-4620-8DD5-9E467488AB84}" presName="FourNodes_2_text" presStyleLbl="node1" presStyleIdx="3" presStyleCnt="4">
        <dgm:presLayoutVars>
          <dgm:bulletEnabled val="1"/>
        </dgm:presLayoutVars>
      </dgm:prSet>
      <dgm:spPr/>
    </dgm:pt>
    <dgm:pt modelId="{A07457E5-D1B3-49BD-8A52-58D9C50E53EA}" type="pres">
      <dgm:prSet presAssocID="{DA3D35A3-A9F6-4620-8DD5-9E467488AB84}" presName="FourNodes_3_text" presStyleLbl="node1" presStyleIdx="3" presStyleCnt="4">
        <dgm:presLayoutVars>
          <dgm:bulletEnabled val="1"/>
        </dgm:presLayoutVars>
      </dgm:prSet>
      <dgm:spPr/>
    </dgm:pt>
    <dgm:pt modelId="{5F3BB915-2B5E-4164-B9C4-5F8BB8E18E8A}" type="pres">
      <dgm:prSet presAssocID="{DA3D35A3-A9F6-4620-8DD5-9E467488AB84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FA82F713-EE5A-4ADC-ADF3-C8D31A2B47F3}" type="presOf" srcId="{55EA4D0A-CFF5-440B-A1A9-B2EEAEA028B1}" destId="{34B150A2-C974-4486-839D-A8E046B7FD1A}" srcOrd="0" destOrd="0" presId="urn:microsoft.com/office/officeart/2005/8/layout/vProcess5"/>
    <dgm:cxn modelId="{01418719-A8F8-4517-B201-C2DF77829496}" type="presOf" srcId="{60403D1B-FDEA-413B-8A8B-320706E6D3EC}" destId="{15733CA0-E001-4D66-AA5E-5CCCA5D074BD}" srcOrd="0" destOrd="0" presId="urn:microsoft.com/office/officeart/2005/8/layout/vProcess5"/>
    <dgm:cxn modelId="{CDFBB030-6B33-48F6-894E-3F1059D45417}" type="presOf" srcId="{DCF35915-4115-4D14-9496-311E265F7434}" destId="{2ED8F754-C697-47C0-BBE1-8FD55EC5ECB5}" srcOrd="0" destOrd="0" presId="urn:microsoft.com/office/officeart/2005/8/layout/vProcess5"/>
    <dgm:cxn modelId="{BFE09F6B-1DC5-4B6C-9CD1-0BA6C35CE299}" type="presOf" srcId="{B947655A-784A-4734-8AA8-605E1F9B9399}" destId="{8B3EA497-1340-481E-A325-7B7A11CA77C6}" srcOrd="0" destOrd="0" presId="urn:microsoft.com/office/officeart/2005/8/layout/vProcess5"/>
    <dgm:cxn modelId="{134FD972-1626-4167-81A2-16C265D8B041}" type="presOf" srcId="{429C7FAB-A6F5-457E-80DF-B78DB72E0412}" destId="{CC7FC4F1-B221-4808-B8D5-890EFAEC9FA0}" srcOrd="0" destOrd="0" presId="urn:microsoft.com/office/officeart/2005/8/layout/vProcess5"/>
    <dgm:cxn modelId="{28CFAA76-080A-4A7E-858A-E18269B7CB9C}" type="presOf" srcId="{E78FFB73-6A64-41B4-9D8D-261F312D25EF}" destId="{544160FE-1BC8-4B7E-9C53-728385E90BC9}" srcOrd="0" destOrd="0" presId="urn:microsoft.com/office/officeart/2005/8/layout/vProcess5"/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804A618B-C13D-4F65-9ACC-8CFD9A648AE5}" srcId="{DA3D35A3-A9F6-4620-8DD5-9E467488AB84}" destId="{DCF35915-4115-4D14-9496-311E265F7434}" srcOrd="3" destOrd="0" parTransId="{69134835-6356-42B2-87D4-0E11F6465E50}" sibTransId="{7EB6F33B-4977-4B17-B680-D673E1CC3A28}"/>
    <dgm:cxn modelId="{5DF9029A-5F7E-41BF-9A42-4E239F8F9E9F}" srcId="{DA3D35A3-A9F6-4620-8DD5-9E467488AB84}" destId="{B947655A-784A-4734-8AA8-605E1F9B9399}" srcOrd="1" destOrd="0" parTransId="{15E7C653-F57C-40EA-A129-2E5D15382D55}" sibTransId="{55EA4D0A-CFF5-440B-A1A9-B2EEAEA028B1}"/>
    <dgm:cxn modelId="{D5D0C39F-4D19-4889-A150-8538FABC4136}" type="presOf" srcId="{B947655A-784A-4734-8AA8-605E1F9B9399}" destId="{DCA72A94-F6D3-4B7E-9DB0-BB5C4758E439}" srcOrd="1" destOrd="0" presId="urn:microsoft.com/office/officeart/2005/8/layout/vProcess5"/>
    <dgm:cxn modelId="{C1EDD1CD-A047-4D7A-9D8F-1AACA9BFC5DF}" type="presOf" srcId="{18DF3A94-50D0-40BF-90C8-B0B00E142677}" destId="{D1B60FB6-D4B2-446F-8E7F-89C650FDCC59}" srcOrd="0" destOrd="0" presId="urn:microsoft.com/office/officeart/2005/8/layout/vProcess5"/>
    <dgm:cxn modelId="{5F1F51DD-9337-4FA3-A50F-2CA4EBC5C773}" type="presOf" srcId="{429C7FAB-A6F5-457E-80DF-B78DB72E0412}" destId="{8797C0CA-C80E-40DD-AFAD-DDCC8CBF25A2}" srcOrd="1" destOrd="0" presId="urn:microsoft.com/office/officeart/2005/8/layout/vProcess5"/>
    <dgm:cxn modelId="{61C406DE-E7A0-4F55-8B7B-D5327FDDD11F}" type="presOf" srcId="{DCF35915-4115-4D14-9496-311E265F7434}" destId="{5F3BB915-2B5E-4164-B9C4-5F8BB8E18E8A}" srcOrd="1" destOrd="0" presId="urn:microsoft.com/office/officeart/2005/8/layout/vProcess5"/>
    <dgm:cxn modelId="{D59960DF-535F-44B3-9F0E-C40BC3BC77B6}" srcId="{DA3D35A3-A9F6-4620-8DD5-9E467488AB84}" destId="{429C7FAB-A6F5-457E-80DF-B78DB72E0412}" srcOrd="0" destOrd="0" parTransId="{F402BD7E-0A33-48CB-B8B0-6208DAFE0942}" sibTransId="{18DF3A94-50D0-40BF-90C8-B0B00E142677}"/>
    <dgm:cxn modelId="{4EBC8CE0-2014-4140-8ED6-28FFCC650D25}" type="presOf" srcId="{60403D1B-FDEA-413B-8A8B-320706E6D3EC}" destId="{A07457E5-D1B3-49BD-8A52-58D9C50E53EA}" srcOrd="1" destOrd="0" presId="urn:microsoft.com/office/officeart/2005/8/layout/vProcess5"/>
    <dgm:cxn modelId="{A27E2EF8-470F-4F73-9EA6-99AF72E70494}" srcId="{DA3D35A3-A9F6-4620-8DD5-9E467488AB84}" destId="{60403D1B-FDEA-413B-8A8B-320706E6D3EC}" srcOrd="2" destOrd="0" parTransId="{ECCB4EF7-C75C-46BF-B2D6-CFF5F35BC26B}" sibTransId="{E78FFB73-6A64-41B4-9D8D-261F312D25EF}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F6C6C161-2197-48A7-91CD-D6A450D83542}" type="presParOf" srcId="{81F4CCE6-E166-45AE-A525-AC154AED6252}" destId="{CC7FC4F1-B221-4808-B8D5-890EFAEC9FA0}" srcOrd="1" destOrd="0" presId="urn:microsoft.com/office/officeart/2005/8/layout/vProcess5"/>
    <dgm:cxn modelId="{7D63D250-D2CF-49D5-B1C3-ECE44F496EAB}" type="presParOf" srcId="{81F4CCE6-E166-45AE-A525-AC154AED6252}" destId="{8B3EA497-1340-481E-A325-7B7A11CA77C6}" srcOrd="2" destOrd="0" presId="urn:microsoft.com/office/officeart/2005/8/layout/vProcess5"/>
    <dgm:cxn modelId="{252900EF-DCD5-4698-9314-5282FB567A77}" type="presParOf" srcId="{81F4CCE6-E166-45AE-A525-AC154AED6252}" destId="{15733CA0-E001-4D66-AA5E-5CCCA5D074BD}" srcOrd="3" destOrd="0" presId="urn:microsoft.com/office/officeart/2005/8/layout/vProcess5"/>
    <dgm:cxn modelId="{079EEDF9-98ED-4039-B42D-81D02191363D}" type="presParOf" srcId="{81F4CCE6-E166-45AE-A525-AC154AED6252}" destId="{2ED8F754-C697-47C0-BBE1-8FD55EC5ECB5}" srcOrd="4" destOrd="0" presId="urn:microsoft.com/office/officeart/2005/8/layout/vProcess5"/>
    <dgm:cxn modelId="{192E76B1-B69A-4CF8-9D20-7D9FD0450A1B}" type="presParOf" srcId="{81F4CCE6-E166-45AE-A525-AC154AED6252}" destId="{D1B60FB6-D4B2-446F-8E7F-89C650FDCC59}" srcOrd="5" destOrd="0" presId="urn:microsoft.com/office/officeart/2005/8/layout/vProcess5"/>
    <dgm:cxn modelId="{007C516E-6742-45D0-9AE9-C2496431D741}" type="presParOf" srcId="{81F4CCE6-E166-45AE-A525-AC154AED6252}" destId="{34B150A2-C974-4486-839D-A8E046B7FD1A}" srcOrd="6" destOrd="0" presId="urn:microsoft.com/office/officeart/2005/8/layout/vProcess5"/>
    <dgm:cxn modelId="{7A80FB47-503C-44B6-8088-EA2021DC1916}" type="presParOf" srcId="{81F4CCE6-E166-45AE-A525-AC154AED6252}" destId="{544160FE-1BC8-4B7E-9C53-728385E90BC9}" srcOrd="7" destOrd="0" presId="urn:microsoft.com/office/officeart/2005/8/layout/vProcess5"/>
    <dgm:cxn modelId="{E2107819-9CE0-4265-BB54-18A9F4AFF229}" type="presParOf" srcId="{81F4CCE6-E166-45AE-A525-AC154AED6252}" destId="{8797C0CA-C80E-40DD-AFAD-DDCC8CBF25A2}" srcOrd="8" destOrd="0" presId="urn:microsoft.com/office/officeart/2005/8/layout/vProcess5"/>
    <dgm:cxn modelId="{804D82DC-9AE6-4F34-B950-C9C4DCEC84AE}" type="presParOf" srcId="{81F4CCE6-E166-45AE-A525-AC154AED6252}" destId="{DCA72A94-F6D3-4B7E-9DB0-BB5C4758E439}" srcOrd="9" destOrd="0" presId="urn:microsoft.com/office/officeart/2005/8/layout/vProcess5"/>
    <dgm:cxn modelId="{EEAC8263-AEDC-4353-AB0B-F04BFEFB96FC}" type="presParOf" srcId="{81F4CCE6-E166-45AE-A525-AC154AED6252}" destId="{A07457E5-D1B3-49BD-8A52-58D9C50E53EA}" srcOrd="10" destOrd="0" presId="urn:microsoft.com/office/officeart/2005/8/layout/vProcess5"/>
    <dgm:cxn modelId="{62DB416B-9585-4C84-B87B-5092CDBE89C9}" type="presParOf" srcId="{81F4CCE6-E166-45AE-A525-AC154AED6252}" destId="{5F3BB915-2B5E-4164-B9C4-5F8BB8E18E8A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429C7FAB-A6F5-457E-80DF-B78DB72E0412}">
      <dgm:prSet phldrT="[Texto]"/>
      <dgm:spPr/>
      <dgm:t>
        <a:bodyPr/>
        <a:lstStyle/>
        <a:p>
          <a:r>
            <a:rPr lang="es-CL" dirty="0"/>
            <a:t>Proyecto</a:t>
          </a:r>
        </a:p>
      </dgm:t>
    </dgm:pt>
    <dgm:pt modelId="{F402BD7E-0A33-48CB-B8B0-6208DAFE0942}" type="parTrans" cxnId="{D59960DF-535F-44B3-9F0E-C40BC3BC77B6}">
      <dgm:prSet/>
      <dgm:spPr/>
      <dgm:t>
        <a:bodyPr/>
        <a:lstStyle/>
        <a:p>
          <a:endParaRPr lang="es-CL"/>
        </a:p>
      </dgm:t>
    </dgm:pt>
    <dgm:pt modelId="{18DF3A94-50D0-40BF-90C8-B0B00E142677}" type="sibTrans" cxnId="{D59960DF-535F-44B3-9F0E-C40BC3BC77B6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55659E68-55E3-4720-AA22-22C67AE5FEC7}" type="pres">
      <dgm:prSet presAssocID="{DA3D35A3-A9F6-4620-8DD5-9E467488AB84}" presName="OneNode_1" presStyleLbl="node1" presStyleIdx="0" presStyleCnt="1" custLinFactNeighborX="1433" custLinFactNeighborY="3099">
        <dgm:presLayoutVars>
          <dgm:bulletEnabled val="1"/>
        </dgm:presLayoutVars>
      </dgm:prSet>
      <dgm:spPr/>
    </dgm:pt>
  </dgm:ptLst>
  <dgm:cxnLst>
    <dgm:cxn modelId="{16A5BE20-5ED7-4B0D-A03A-0E1498A0253D}" type="presOf" srcId="{429C7FAB-A6F5-457E-80DF-B78DB72E0412}" destId="{55659E68-55E3-4720-AA22-22C67AE5FEC7}" srcOrd="0" destOrd="0" presId="urn:microsoft.com/office/officeart/2005/8/layout/vProcess5"/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D59960DF-535F-44B3-9F0E-C40BC3BC77B6}" srcId="{DA3D35A3-A9F6-4620-8DD5-9E467488AB84}" destId="{429C7FAB-A6F5-457E-80DF-B78DB72E0412}" srcOrd="0" destOrd="0" parTransId="{F402BD7E-0A33-48CB-B8B0-6208DAFE0942}" sibTransId="{18DF3A94-50D0-40BF-90C8-B0B00E142677}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6C6769DA-61E5-4654-9F8B-5750E58F8D4D}" type="presParOf" srcId="{81F4CCE6-E166-45AE-A525-AC154AED6252}" destId="{55659E68-55E3-4720-AA22-22C67AE5FEC7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60403D1B-FDEA-413B-8A8B-320706E6D3EC}">
      <dgm:prSet/>
      <dgm:spPr>
        <a:solidFill>
          <a:srgbClr val="2DA594"/>
        </a:solidFill>
      </dgm:spPr>
      <dgm:t>
        <a:bodyPr/>
        <a:lstStyle/>
        <a:p>
          <a:r>
            <a:rPr lang="es-CL" dirty="0"/>
            <a:t>Actividades</a:t>
          </a:r>
        </a:p>
      </dgm:t>
    </dgm:pt>
    <dgm:pt modelId="{ECCB4EF7-C75C-46BF-B2D6-CFF5F35BC26B}" type="parTrans" cxnId="{A27E2EF8-470F-4F73-9EA6-99AF72E70494}">
      <dgm:prSet/>
      <dgm:spPr/>
      <dgm:t>
        <a:bodyPr/>
        <a:lstStyle/>
        <a:p>
          <a:endParaRPr lang="es-CL"/>
        </a:p>
      </dgm:t>
    </dgm:pt>
    <dgm:pt modelId="{E78FFB73-6A64-41B4-9D8D-261F312D25EF}" type="sibTrans" cxnId="{A27E2EF8-470F-4F73-9EA6-99AF72E70494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67821B36-0FED-4D24-9A04-2343B9EB3F2A}" type="pres">
      <dgm:prSet presAssocID="{DA3D35A3-A9F6-4620-8DD5-9E467488AB84}" presName="OneNode_1" presStyleLbl="node1" presStyleIdx="0" presStyleCnt="1" custLinFactNeighborX="-15732" custLinFactNeighborY="-921">
        <dgm:presLayoutVars>
          <dgm:bulletEnabled val="1"/>
        </dgm:presLayoutVars>
      </dgm:prSet>
      <dgm:spPr/>
    </dgm:pt>
  </dgm:ptLst>
  <dgm:cxnLst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E1F6D7E3-AE54-4E98-92C8-2D1CE61FEE28}" type="presOf" srcId="{60403D1B-FDEA-413B-8A8B-320706E6D3EC}" destId="{67821B36-0FED-4D24-9A04-2343B9EB3F2A}" srcOrd="0" destOrd="0" presId="urn:microsoft.com/office/officeart/2005/8/layout/vProcess5"/>
    <dgm:cxn modelId="{A27E2EF8-470F-4F73-9EA6-99AF72E70494}" srcId="{DA3D35A3-A9F6-4620-8DD5-9E467488AB84}" destId="{60403D1B-FDEA-413B-8A8B-320706E6D3EC}" srcOrd="0" destOrd="0" parTransId="{ECCB4EF7-C75C-46BF-B2D6-CFF5F35BC26B}" sibTransId="{E78FFB73-6A64-41B4-9D8D-261F312D25EF}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59F51E6C-6815-4A5A-BDDA-EA759C0DEC3A}" type="presParOf" srcId="{81F4CCE6-E166-45AE-A525-AC154AED6252}" destId="{67821B36-0FED-4D24-9A04-2343B9EB3F2A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B947655A-784A-4734-8AA8-605E1F9B9399}">
      <dgm:prSet/>
      <dgm:spPr>
        <a:solidFill>
          <a:srgbClr val="2C2EA2"/>
        </a:solidFill>
      </dgm:spPr>
      <dgm:t>
        <a:bodyPr/>
        <a:lstStyle/>
        <a:p>
          <a:r>
            <a:rPr lang="es-CL" dirty="0"/>
            <a:t>Fases</a:t>
          </a:r>
        </a:p>
      </dgm:t>
    </dgm:pt>
    <dgm:pt modelId="{15E7C653-F57C-40EA-A129-2E5D15382D55}" type="parTrans" cxnId="{5DF9029A-5F7E-41BF-9A42-4E239F8F9E9F}">
      <dgm:prSet/>
      <dgm:spPr/>
      <dgm:t>
        <a:bodyPr/>
        <a:lstStyle/>
        <a:p>
          <a:endParaRPr lang="es-CL"/>
        </a:p>
      </dgm:t>
    </dgm:pt>
    <dgm:pt modelId="{55EA4D0A-CFF5-440B-A1A9-B2EEAEA028B1}" type="sibTrans" cxnId="{5DF9029A-5F7E-41BF-9A42-4E239F8F9E9F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D300CD4C-B3BA-4FAA-8344-F6430078403A}" type="pres">
      <dgm:prSet presAssocID="{DA3D35A3-A9F6-4620-8DD5-9E467488AB84}" presName="OneNode_1" presStyleLbl="node1" presStyleIdx="0" presStyleCnt="1">
        <dgm:presLayoutVars>
          <dgm:bulletEnabled val="1"/>
        </dgm:presLayoutVars>
      </dgm:prSet>
      <dgm:spPr/>
    </dgm:pt>
  </dgm:ptLst>
  <dgm:cxnLst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EFC8B08D-E537-4651-AE26-D8222F408BBC}" type="presOf" srcId="{B947655A-784A-4734-8AA8-605E1F9B9399}" destId="{D300CD4C-B3BA-4FAA-8344-F6430078403A}" srcOrd="0" destOrd="0" presId="urn:microsoft.com/office/officeart/2005/8/layout/vProcess5"/>
    <dgm:cxn modelId="{5DF9029A-5F7E-41BF-9A42-4E239F8F9E9F}" srcId="{DA3D35A3-A9F6-4620-8DD5-9E467488AB84}" destId="{B947655A-784A-4734-8AA8-605E1F9B9399}" srcOrd="0" destOrd="0" parTransId="{15E7C653-F57C-40EA-A129-2E5D15382D55}" sibTransId="{55EA4D0A-CFF5-440B-A1A9-B2EEAEA028B1}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83794A80-BDC9-4890-9AF8-A6C99240B5AB}" type="presParOf" srcId="{81F4CCE6-E166-45AE-A525-AC154AED6252}" destId="{D300CD4C-B3BA-4FAA-8344-F6430078403A}" srcOrd="1" destOrd="0" presId="urn:microsoft.com/office/officeart/2005/8/layout/vProcess5"/>
  </dgm:cxnLst>
  <dgm:bg>
    <a:noFill/>
  </dgm:bg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A3D35A3-A9F6-4620-8DD5-9E467488AB8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DCF35915-4115-4D14-9496-311E265F7434}">
      <dgm:prSet/>
      <dgm:spPr>
        <a:solidFill>
          <a:srgbClr val="4EA72E"/>
        </a:solidFill>
      </dgm:spPr>
      <dgm:t>
        <a:bodyPr/>
        <a:lstStyle/>
        <a:p>
          <a:r>
            <a:rPr lang="es-CL" dirty="0" err="1"/>
            <a:t>Subtactividades</a:t>
          </a:r>
          <a:endParaRPr lang="es-CL" dirty="0"/>
        </a:p>
      </dgm:t>
    </dgm:pt>
    <dgm:pt modelId="{69134835-6356-42B2-87D4-0E11F6465E50}" type="parTrans" cxnId="{804A618B-C13D-4F65-9ACC-8CFD9A648AE5}">
      <dgm:prSet/>
      <dgm:spPr/>
      <dgm:t>
        <a:bodyPr/>
        <a:lstStyle/>
        <a:p>
          <a:endParaRPr lang="es-CL"/>
        </a:p>
      </dgm:t>
    </dgm:pt>
    <dgm:pt modelId="{7EB6F33B-4977-4B17-B680-D673E1CC3A28}" type="sibTrans" cxnId="{804A618B-C13D-4F65-9ACC-8CFD9A648AE5}">
      <dgm:prSet/>
      <dgm:spPr/>
      <dgm:t>
        <a:bodyPr/>
        <a:lstStyle/>
        <a:p>
          <a:endParaRPr lang="es-CL"/>
        </a:p>
      </dgm:t>
    </dgm:pt>
    <dgm:pt modelId="{81F4CCE6-E166-45AE-A525-AC154AED6252}" type="pres">
      <dgm:prSet presAssocID="{DA3D35A3-A9F6-4620-8DD5-9E467488AB84}" presName="outerComposite" presStyleCnt="0">
        <dgm:presLayoutVars>
          <dgm:chMax val="5"/>
          <dgm:dir/>
          <dgm:resizeHandles val="exact"/>
        </dgm:presLayoutVars>
      </dgm:prSet>
      <dgm:spPr/>
    </dgm:pt>
    <dgm:pt modelId="{3A83FF26-3348-47A9-9CCF-2AB342CF93C3}" type="pres">
      <dgm:prSet presAssocID="{DA3D35A3-A9F6-4620-8DD5-9E467488AB84}" presName="dummyMaxCanvas" presStyleCnt="0">
        <dgm:presLayoutVars/>
      </dgm:prSet>
      <dgm:spPr/>
    </dgm:pt>
    <dgm:pt modelId="{43425647-85FB-4B0C-94FA-EE9A04F71C39}" type="pres">
      <dgm:prSet presAssocID="{DA3D35A3-A9F6-4620-8DD5-9E467488AB84}" presName="OneNode_1" presStyleLbl="node1" presStyleIdx="0" presStyleCnt="1" custLinFactY="-34639" custLinFactNeighborX="86606" custLinFactNeighborY="-100000">
        <dgm:presLayoutVars>
          <dgm:bulletEnabled val="1"/>
        </dgm:presLayoutVars>
      </dgm:prSet>
      <dgm:spPr/>
    </dgm:pt>
  </dgm:ptLst>
  <dgm:cxnLst>
    <dgm:cxn modelId="{930D0B8B-EB9D-4CE9-A7A4-0328A59CAE50}" type="presOf" srcId="{DA3D35A3-A9F6-4620-8DD5-9E467488AB84}" destId="{81F4CCE6-E166-45AE-A525-AC154AED6252}" srcOrd="0" destOrd="0" presId="urn:microsoft.com/office/officeart/2005/8/layout/vProcess5"/>
    <dgm:cxn modelId="{804A618B-C13D-4F65-9ACC-8CFD9A648AE5}" srcId="{DA3D35A3-A9F6-4620-8DD5-9E467488AB84}" destId="{DCF35915-4115-4D14-9496-311E265F7434}" srcOrd="0" destOrd="0" parTransId="{69134835-6356-42B2-87D4-0E11F6465E50}" sibTransId="{7EB6F33B-4977-4B17-B680-D673E1CC3A28}"/>
    <dgm:cxn modelId="{066F51BC-13C3-4578-A869-5CAC0F92B7FD}" type="presOf" srcId="{DCF35915-4115-4D14-9496-311E265F7434}" destId="{43425647-85FB-4B0C-94FA-EE9A04F71C39}" srcOrd="0" destOrd="0" presId="urn:microsoft.com/office/officeart/2005/8/layout/vProcess5"/>
    <dgm:cxn modelId="{8D8E1B6C-E23B-481B-A1DE-61F28E9FA7F3}" type="presParOf" srcId="{81F4CCE6-E166-45AE-A525-AC154AED6252}" destId="{3A83FF26-3348-47A9-9CCF-2AB342CF93C3}" srcOrd="0" destOrd="0" presId="urn:microsoft.com/office/officeart/2005/8/layout/vProcess5"/>
    <dgm:cxn modelId="{6D9BC76E-E6AF-4BB5-977F-85FE2237B9B6}" type="presParOf" srcId="{81F4CCE6-E166-45AE-A525-AC154AED6252}" destId="{43425647-85FB-4B0C-94FA-EE9A04F71C39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7FC4F1-B221-4808-B8D5-890EFAEC9FA0}">
      <dsp:nvSpPr>
        <dsp:cNvPr id="0" name=""/>
        <dsp:cNvSpPr/>
      </dsp:nvSpPr>
      <dsp:spPr>
        <a:xfrm>
          <a:off x="0" y="0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/>
            <a:t>Proyecto</a:t>
          </a:r>
          <a:endParaRPr lang="es-CL" sz="3100" kern="1200" dirty="0"/>
        </a:p>
      </dsp:txBody>
      <dsp:txXfrm>
        <a:off x="21040" y="21040"/>
        <a:ext cx="3269186" cy="676286"/>
      </dsp:txXfrm>
    </dsp:sp>
    <dsp:sp modelId="{8B3EA497-1340-481E-A325-7B7A11CA77C6}">
      <dsp:nvSpPr>
        <dsp:cNvPr id="0" name=""/>
        <dsp:cNvSpPr/>
      </dsp:nvSpPr>
      <dsp:spPr>
        <a:xfrm>
          <a:off x="343798" y="848978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4050717"/>
            <a:satOff val="-275"/>
            <a:lumOff val="65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 dirty="0"/>
            <a:t>Fases</a:t>
          </a:r>
        </a:p>
      </dsp:txBody>
      <dsp:txXfrm>
        <a:off x="364838" y="870018"/>
        <a:ext cx="3252243" cy="676286"/>
      </dsp:txXfrm>
    </dsp:sp>
    <dsp:sp modelId="{15733CA0-E001-4D66-AA5E-5CCCA5D074BD}">
      <dsp:nvSpPr>
        <dsp:cNvPr id="0" name=""/>
        <dsp:cNvSpPr/>
      </dsp:nvSpPr>
      <dsp:spPr>
        <a:xfrm>
          <a:off x="682466" y="1697956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8101434"/>
            <a:satOff val="-551"/>
            <a:lumOff val="130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/>
            <a:t>Actividades</a:t>
          </a:r>
          <a:endParaRPr lang="es-CL" sz="3100" kern="1200" dirty="0"/>
        </a:p>
      </dsp:txBody>
      <dsp:txXfrm>
        <a:off x="703506" y="1718996"/>
        <a:ext cx="3257375" cy="676286"/>
      </dsp:txXfrm>
    </dsp:sp>
    <dsp:sp modelId="{2ED8F754-C697-47C0-BBE1-8FD55EC5ECB5}">
      <dsp:nvSpPr>
        <dsp:cNvPr id="0" name=""/>
        <dsp:cNvSpPr/>
      </dsp:nvSpPr>
      <dsp:spPr>
        <a:xfrm>
          <a:off x="1026265" y="2546934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12152150"/>
            <a:satOff val="-826"/>
            <a:lumOff val="1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 dirty="0" err="1"/>
            <a:t>Subtactividades</a:t>
          </a:r>
          <a:endParaRPr lang="es-CL" sz="3100" kern="1200" dirty="0"/>
        </a:p>
      </dsp:txBody>
      <dsp:txXfrm>
        <a:off x="1047305" y="2567974"/>
        <a:ext cx="3252243" cy="676286"/>
      </dsp:txXfrm>
    </dsp:sp>
    <dsp:sp modelId="{D1B60FB6-D4B2-446F-8E7F-89C650FDCC59}">
      <dsp:nvSpPr>
        <dsp:cNvPr id="0" name=""/>
        <dsp:cNvSpPr/>
      </dsp:nvSpPr>
      <dsp:spPr>
        <a:xfrm>
          <a:off x="3638122" y="550203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3743183" y="550203"/>
        <a:ext cx="256816" cy="351371"/>
      </dsp:txXfrm>
    </dsp:sp>
    <dsp:sp modelId="{34B150A2-C974-4486-839D-A8E046B7FD1A}">
      <dsp:nvSpPr>
        <dsp:cNvPr id="0" name=""/>
        <dsp:cNvSpPr/>
      </dsp:nvSpPr>
      <dsp:spPr>
        <a:xfrm>
          <a:off x="3981921" y="1399181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5972333"/>
            <a:satOff val="1333"/>
            <a:lumOff val="200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4086982" y="1399181"/>
        <a:ext cx="256816" cy="351371"/>
      </dsp:txXfrm>
    </dsp:sp>
    <dsp:sp modelId="{544160FE-1BC8-4B7E-9C53-728385E90BC9}">
      <dsp:nvSpPr>
        <dsp:cNvPr id="0" name=""/>
        <dsp:cNvSpPr/>
      </dsp:nvSpPr>
      <dsp:spPr>
        <a:xfrm>
          <a:off x="4320589" y="2248159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11944666"/>
            <a:satOff val="2667"/>
            <a:lumOff val="401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4425650" y="2248159"/>
        <a:ext cx="256816" cy="3513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7FC4F1-B221-4808-B8D5-890EFAEC9FA0}">
      <dsp:nvSpPr>
        <dsp:cNvPr id="0" name=""/>
        <dsp:cNvSpPr/>
      </dsp:nvSpPr>
      <dsp:spPr>
        <a:xfrm>
          <a:off x="0" y="23152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/>
            <a:t>Proyecto</a:t>
          </a:r>
          <a:endParaRPr lang="es-CL" sz="3100" kern="1200" dirty="0"/>
        </a:p>
      </dsp:txBody>
      <dsp:txXfrm>
        <a:off x="21040" y="44192"/>
        <a:ext cx="3269186" cy="676286"/>
      </dsp:txXfrm>
    </dsp:sp>
    <dsp:sp modelId="{8B3EA497-1340-481E-A325-7B7A11CA77C6}">
      <dsp:nvSpPr>
        <dsp:cNvPr id="0" name=""/>
        <dsp:cNvSpPr/>
      </dsp:nvSpPr>
      <dsp:spPr>
        <a:xfrm>
          <a:off x="343798" y="848978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4050717"/>
            <a:satOff val="-275"/>
            <a:lumOff val="65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 dirty="0"/>
            <a:t>Fases</a:t>
          </a:r>
        </a:p>
      </dsp:txBody>
      <dsp:txXfrm>
        <a:off x="364838" y="870018"/>
        <a:ext cx="3252243" cy="676286"/>
      </dsp:txXfrm>
    </dsp:sp>
    <dsp:sp modelId="{15733CA0-E001-4D66-AA5E-5CCCA5D074BD}">
      <dsp:nvSpPr>
        <dsp:cNvPr id="0" name=""/>
        <dsp:cNvSpPr/>
      </dsp:nvSpPr>
      <dsp:spPr>
        <a:xfrm>
          <a:off x="682466" y="1697956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8101434"/>
            <a:satOff val="-551"/>
            <a:lumOff val="130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/>
            <a:t>Actividades</a:t>
          </a:r>
          <a:endParaRPr lang="es-CL" sz="3100" kern="1200" dirty="0"/>
        </a:p>
      </dsp:txBody>
      <dsp:txXfrm>
        <a:off x="703506" y="1718996"/>
        <a:ext cx="3257375" cy="676286"/>
      </dsp:txXfrm>
    </dsp:sp>
    <dsp:sp modelId="{2ED8F754-C697-47C0-BBE1-8FD55EC5ECB5}">
      <dsp:nvSpPr>
        <dsp:cNvPr id="0" name=""/>
        <dsp:cNvSpPr/>
      </dsp:nvSpPr>
      <dsp:spPr>
        <a:xfrm>
          <a:off x="1026265" y="2546934"/>
          <a:ext cx="4105060" cy="718366"/>
        </a:xfrm>
        <a:prstGeom prst="roundRect">
          <a:avLst>
            <a:gd name="adj" fmla="val 10000"/>
          </a:avLst>
        </a:prstGeom>
        <a:solidFill>
          <a:schemeClr val="accent5">
            <a:hueOff val="-12152150"/>
            <a:satOff val="-826"/>
            <a:lumOff val="1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3100" kern="1200" dirty="0" err="1"/>
            <a:t>Subtactividades</a:t>
          </a:r>
          <a:endParaRPr lang="es-CL" sz="3100" kern="1200" dirty="0"/>
        </a:p>
      </dsp:txBody>
      <dsp:txXfrm>
        <a:off x="1047305" y="2567974"/>
        <a:ext cx="3252243" cy="676286"/>
      </dsp:txXfrm>
    </dsp:sp>
    <dsp:sp modelId="{D1B60FB6-D4B2-446F-8E7F-89C650FDCC59}">
      <dsp:nvSpPr>
        <dsp:cNvPr id="0" name=""/>
        <dsp:cNvSpPr/>
      </dsp:nvSpPr>
      <dsp:spPr>
        <a:xfrm>
          <a:off x="3638122" y="550203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3743183" y="550203"/>
        <a:ext cx="256816" cy="351371"/>
      </dsp:txXfrm>
    </dsp:sp>
    <dsp:sp modelId="{34B150A2-C974-4486-839D-A8E046B7FD1A}">
      <dsp:nvSpPr>
        <dsp:cNvPr id="0" name=""/>
        <dsp:cNvSpPr/>
      </dsp:nvSpPr>
      <dsp:spPr>
        <a:xfrm>
          <a:off x="3981921" y="1399181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5972333"/>
            <a:satOff val="1333"/>
            <a:lumOff val="200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4086982" y="1399181"/>
        <a:ext cx="256816" cy="351371"/>
      </dsp:txXfrm>
    </dsp:sp>
    <dsp:sp modelId="{544160FE-1BC8-4B7E-9C53-728385E90BC9}">
      <dsp:nvSpPr>
        <dsp:cNvPr id="0" name=""/>
        <dsp:cNvSpPr/>
      </dsp:nvSpPr>
      <dsp:spPr>
        <a:xfrm>
          <a:off x="4320589" y="2248159"/>
          <a:ext cx="466938" cy="46693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11944666"/>
            <a:satOff val="2667"/>
            <a:lumOff val="401"/>
            <a:alphaOff val="0"/>
          </a:schemeClr>
        </a:solidFill>
        <a:ln w="190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2100" kern="1200"/>
        </a:p>
      </dsp:txBody>
      <dsp:txXfrm>
        <a:off x="4425650" y="2248159"/>
        <a:ext cx="256816" cy="3513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59E68-55E3-4720-AA22-22C67AE5FEC7}">
      <dsp:nvSpPr>
        <dsp:cNvPr id="0" name=""/>
        <dsp:cNvSpPr/>
      </dsp:nvSpPr>
      <dsp:spPr>
        <a:xfrm>
          <a:off x="0" y="286727"/>
          <a:ext cx="2456900" cy="53998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300" kern="1200" dirty="0"/>
            <a:t>Proyecto</a:t>
          </a:r>
        </a:p>
      </dsp:txBody>
      <dsp:txXfrm>
        <a:off x="15816" y="302543"/>
        <a:ext cx="2425268" cy="5083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821B36-0FED-4D24-9A04-2343B9EB3F2A}">
      <dsp:nvSpPr>
        <dsp:cNvPr id="0" name=""/>
        <dsp:cNvSpPr/>
      </dsp:nvSpPr>
      <dsp:spPr>
        <a:xfrm>
          <a:off x="0" y="273231"/>
          <a:ext cx="2511707" cy="556718"/>
        </a:xfrm>
        <a:prstGeom prst="roundRect">
          <a:avLst>
            <a:gd name="adj" fmla="val 10000"/>
          </a:avLst>
        </a:prstGeom>
        <a:solidFill>
          <a:srgbClr val="2DA59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400" kern="1200" dirty="0"/>
            <a:t>Actividades</a:t>
          </a:r>
        </a:p>
      </dsp:txBody>
      <dsp:txXfrm>
        <a:off x="16306" y="289537"/>
        <a:ext cx="2479095" cy="5241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0CD4C-B3BA-4FAA-8344-F6430078403A}">
      <dsp:nvSpPr>
        <dsp:cNvPr id="0" name=""/>
        <dsp:cNvSpPr/>
      </dsp:nvSpPr>
      <dsp:spPr>
        <a:xfrm>
          <a:off x="0" y="269993"/>
          <a:ext cx="2463481" cy="539986"/>
        </a:xfrm>
        <a:prstGeom prst="roundRect">
          <a:avLst>
            <a:gd name="adj" fmla="val 10000"/>
          </a:avLst>
        </a:prstGeom>
        <a:solidFill>
          <a:srgbClr val="2C2EA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300" kern="1200" dirty="0"/>
            <a:t>Fases</a:t>
          </a:r>
        </a:p>
      </dsp:txBody>
      <dsp:txXfrm>
        <a:off x="15816" y="285809"/>
        <a:ext cx="2431849" cy="50835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425647-85FB-4B0C-94FA-EE9A04F71C39}">
      <dsp:nvSpPr>
        <dsp:cNvPr id="0" name=""/>
        <dsp:cNvSpPr/>
      </dsp:nvSpPr>
      <dsp:spPr>
        <a:xfrm>
          <a:off x="0" y="0"/>
          <a:ext cx="3047998" cy="565407"/>
        </a:xfrm>
        <a:prstGeom prst="roundRect">
          <a:avLst>
            <a:gd name="adj" fmla="val 10000"/>
          </a:avLst>
        </a:prstGeom>
        <a:solidFill>
          <a:srgbClr val="4EA72E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2400" kern="1200" dirty="0" err="1"/>
            <a:t>Subtactividades</a:t>
          </a:r>
          <a:endParaRPr lang="es-CL" sz="2400" kern="1200" dirty="0"/>
        </a:p>
      </dsp:txBody>
      <dsp:txXfrm>
        <a:off x="16560" y="16560"/>
        <a:ext cx="3014878" cy="532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C6822D-4DB8-4CEA-A8D8-C1C546DEEBC1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7C5F6-A159-4FDA-B970-393C6359CAD3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1891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3CBE9-2528-CD45-ACE5-8234B880B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8DD264E-5F32-7BDF-39BB-67A0E1D768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DAEC525-5894-CD6F-93FF-4A198AB4F2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✅ Un proyecto creado.</a:t>
            </a:r>
          </a:p>
          <a:p>
            <a:r>
              <a:rPr lang="es-CL" dirty="0"/>
              <a:t>✅ Fecha de inicio configurada.</a:t>
            </a:r>
          </a:p>
          <a:p>
            <a:r>
              <a:rPr lang="es-CL" dirty="0"/>
              <a:t>✅ Calendario configurado.</a:t>
            </a:r>
          </a:p>
          <a:p>
            <a:r>
              <a:rPr lang="es-CL" dirty="0"/>
              <a:t>✅ Jornada configurada.</a:t>
            </a:r>
          </a:p>
          <a:p>
            <a:r>
              <a:rPr lang="es-CL" dirty="0"/>
              <a:t>✅ Archivo guardado correctamente.</a:t>
            </a:r>
          </a:p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14F652A-6635-76D9-0676-B7687A2D4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7C5F6-A159-4FDA-B970-393C6359CAD3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7008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7C5F6-A159-4FDA-B970-393C6359CAD3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7651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BABD53-DD41-9947-1E30-1B126BEEDA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29B12D-5C9B-7298-BF3D-53FF56D8F6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B2A9BDC-D425-9BFA-9705-E4AB9A107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AE9F5E8-6540-E7A0-D23E-5B5435F6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EB93E68-BD9D-2A43-F94F-6CF00E91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55890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DDDCF-9786-F141-E3CA-C6EA970B9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236DECF-44FE-8FCB-D6D2-C4EAF8CBBA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1FE3BAD-4259-D827-0E14-7322B97D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5E0F209-C0C6-0E04-7AF5-D26225336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7035C7-86CD-9B74-B271-8C3F96878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38632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CE8798A-B6F1-FC83-2AF8-01454EFB29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FD50D01-E120-683D-E493-7DA0A786A4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EB25E3F-62D4-3A59-54E7-42841860F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8FD4CA7-6270-41A6-9CCE-6738F08E2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F8E8958-DC83-A016-B382-8250B9405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82289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2B609C-C9FA-3216-7012-2958A3B68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F235501-EC0F-5131-A433-C6F2E98E0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83D41D-BA71-5C6C-FCBE-A28BC8305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EC33EE0-D4F3-C556-15B5-0212F3B86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135B0E-1F28-1167-5BD9-345E193AA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8180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276730-B8A2-246C-D353-4CF5537D5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0CC20D3-C039-BD51-29D9-04C8110AD6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42638AC-FB81-E76B-6483-C8471CBE7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52CE07F-D57A-4468-F0FD-9457A74E5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3D8DDF8-0966-8727-C6A5-014EAE460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90974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3253E8-104E-8D31-D265-268418749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00AD181-5BCF-FC7E-D096-1996913316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2DD79BF-2DD3-0E73-7747-901597AF5A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8EE2EEE-CE8C-AA60-4846-5FCC3F308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16DEDBF-3E0E-80F7-8203-2D54B093B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9B6A887-9E7D-070F-AB76-06F5286B3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36394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859BAD-C141-2B70-6814-5B5620411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C04E7B-257C-D0AE-2914-0FAC4DDA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D51766-3EEA-9F01-F54D-AED923DCD6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6BD87E9-4A30-F8E2-AE79-45D5119C1B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08521876-77B8-AC5B-7518-66928368E8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9061702-374A-6590-2C38-7418388C8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AE513A6-2E12-A507-B784-665BF1B0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B086E64-CD53-0BC2-1B1F-719DB2036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2678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3BED92-21C4-4A93-3520-D9F7145AA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BE75D13-49D8-9880-A92C-49547169B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66DB02-896C-F7AC-8108-6E768996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6BA1ADB-A666-694D-BC44-150C58DDF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380354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03F7707-82D1-FDED-0BE3-68257E058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2B4A751-E83A-12E3-DC3A-FBEFDDB75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04D1B71-84E8-840C-E6E0-8CDF766A1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99266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2C9E3D-FB77-950F-4C10-A5179FB69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F8F2309-F67B-9CBC-982E-89E48FE13E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7025BC-51B9-5F9A-6487-701A1DEEEB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238CF93-24D3-83F1-FA48-BDE6504F6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6C9A0E7-14E7-EE55-791A-2586AF0BB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1D9889C-A25B-62F7-72A0-AAD301380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7590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43384F-80C5-6DAC-E051-BCDF38E60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1A442DD-E5FF-A893-5996-CBB9B5437D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EF73900-99E9-B76F-0692-E39BEDF052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81AB8C-A973-9C4D-6F8D-CDDA34743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F4D28D5-4A3A-E078-6C83-BD564FFFA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ED5534-82A5-AFB5-2FA8-CF7A21141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1053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4B4503F-3D9D-C575-BA49-274C2B8374D5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260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04" imgH="405" progId="TCLayout.ActiveDocument.1">
                  <p:embed/>
                </p:oleObj>
              </mc:Choice>
              <mc:Fallback>
                <p:oleObj name="Diapositiva de think-cell" r:id="rId1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4503F-3D9D-C575-BA49-274C2B837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E93AC1C-9098-3416-F5F8-126762549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67E8592-1D1B-8AF5-8C20-CE78E7276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12E7C7-10A1-2525-0609-627E6A2F47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A89073-B459-A30F-1455-DA8B25817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C88F1F3-D0D5-8EE3-A5F8-1709E6230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3398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image" Target="../media/image2.png"/><Relationship Id="rId21" Type="http://schemas.openxmlformats.org/officeDocument/2006/relationships/diagramQuickStyle" Target="../diagrams/quickStyle6.xml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slideLayout" Target="../slideLayouts/slideLayout7.xml"/><Relationship Id="rId16" Type="http://schemas.openxmlformats.org/officeDocument/2006/relationships/diagramQuickStyle" Target="../diagrams/quickStyle5.xml"/><Relationship Id="rId20" Type="http://schemas.openxmlformats.org/officeDocument/2006/relationships/diagramLayout" Target="../diagrams/layout6.xml"/><Relationship Id="rId1" Type="http://schemas.openxmlformats.org/officeDocument/2006/relationships/themeOverride" Target="../theme/themeOverride7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23" Type="http://schemas.microsoft.com/office/2007/relationships/diagramDrawing" Target="../diagrams/drawing6.xml"/><Relationship Id="rId10" Type="http://schemas.openxmlformats.org/officeDocument/2006/relationships/diagramLayout" Target="../diagrams/layout4.xml"/><Relationship Id="rId19" Type="http://schemas.openxmlformats.org/officeDocument/2006/relationships/diagramData" Target="../diagrams/data6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Relationship Id="rId22" Type="http://schemas.openxmlformats.org/officeDocument/2006/relationships/diagramColors" Target="../diagrams/colors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17.png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3.xml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6.xml"/><Relationship Id="rId5" Type="http://schemas.openxmlformats.org/officeDocument/2006/relationships/image" Target="../media/image16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016CBB2-169A-55A7-4CBA-204389A28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0" y="624666"/>
            <a:ext cx="6084211" cy="524653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6E731FFE-FA29-FF8E-6926-DAA62CE5F829}"/>
              </a:ext>
            </a:extLst>
          </p:cNvPr>
          <p:cNvSpPr txBox="1"/>
          <p:nvPr/>
        </p:nvSpPr>
        <p:spPr>
          <a:xfrm>
            <a:off x="881743" y="1317171"/>
            <a:ext cx="419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URSO</a:t>
            </a:r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E44A4FF-15B2-8B46-C98F-A581544E04C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031" t="25773" r="49566" b="44598"/>
          <a:stretch>
            <a:fillRect/>
          </a:stretch>
        </p:blipFill>
        <p:spPr>
          <a:xfrm>
            <a:off x="881743" y="1686504"/>
            <a:ext cx="4985657" cy="191449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99BB73D-0EE1-2B23-1C90-334C4DCA30BF}"/>
              </a:ext>
            </a:extLst>
          </p:cNvPr>
          <p:cNvSpPr txBox="1"/>
          <p:nvPr/>
        </p:nvSpPr>
        <p:spPr>
          <a:xfrm>
            <a:off x="881743" y="3600996"/>
            <a:ext cx="447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MEDIANTE MS Project </a:t>
            </a:r>
          </a:p>
          <a:p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BE0FF9C-7F62-E6F7-C5AE-E12DED3737DF}"/>
              </a:ext>
            </a:extLst>
          </p:cNvPr>
          <p:cNvSpPr txBox="1"/>
          <p:nvPr/>
        </p:nvSpPr>
        <p:spPr>
          <a:xfrm>
            <a:off x="898616" y="4274431"/>
            <a:ext cx="4968784" cy="707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F9369AE-C017-2E5D-8B9F-49130A8D5F86}"/>
              </a:ext>
            </a:extLst>
          </p:cNvPr>
          <p:cNvSpPr txBox="1"/>
          <p:nvPr/>
        </p:nvSpPr>
        <p:spPr>
          <a:xfrm>
            <a:off x="898616" y="5112957"/>
            <a:ext cx="1433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ase 3</a:t>
            </a:r>
          </a:p>
        </p:txBody>
      </p:sp>
    </p:spTree>
    <p:extLst>
      <p:ext uri="{BB962C8B-B14F-4D97-AF65-F5344CB8AC3E}">
        <p14:creationId xmlns:p14="http://schemas.microsoft.com/office/powerpoint/2010/main" val="10974123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A8A90AE-1AD9-F291-EF6F-321648AAE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9E1945CE-FE5A-8090-167A-87F809BDF342}"/>
              </a:ext>
            </a:extLst>
          </p:cNvPr>
          <p:cNvSpPr txBox="1"/>
          <p:nvPr/>
        </p:nvSpPr>
        <p:spPr>
          <a:xfrm>
            <a:off x="699246" y="533400"/>
            <a:ext cx="6094070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jemplo en Reconstrucción 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005FECC4-ACF4-B787-AA1C-8C987B805E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6407066"/>
              </p:ext>
            </p:extLst>
          </p:nvPr>
        </p:nvGraphicFramePr>
        <p:xfrm>
          <a:off x="566611" y="1713582"/>
          <a:ext cx="2456901" cy="10799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2EF4BA7B-A587-FA7A-74A4-CFE6C1D8491E}"/>
              </a:ext>
            </a:extLst>
          </p:cNvPr>
          <p:cNvSpPr txBox="1"/>
          <p:nvPr/>
        </p:nvSpPr>
        <p:spPr>
          <a:xfrm>
            <a:off x="662276" y="1616869"/>
            <a:ext cx="2361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Nivel 0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5B2B411-6FD5-E4EE-B384-F6647EEDBA78}"/>
              </a:ext>
            </a:extLst>
          </p:cNvPr>
          <p:cNvSpPr txBox="1"/>
          <p:nvPr/>
        </p:nvSpPr>
        <p:spPr>
          <a:xfrm>
            <a:off x="3238863" y="1633792"/>
            <a:ext cx="2820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Nivel 1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6F6DE41-C899-FC8C-AF16-33969096B8A1}"/>
              </a:ext>
            </a:extLst>
          </p:cNvPr>
          <p:cNvSpPr txBox="1"/>
          <p:nvPr/>
        </p:nvSpPr>
        <p:spPr>
          <a:xfrm>
            <a:off x="5769997" y="1616869"/>
            <a:ext cx="2778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Nivel 2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2743251-20B6-9906-728D-73D5E7945FDE}"/>
              </a:ext>
            </a:extLst>
          </p:cNvPr>
          <p:cNvSpPr txBox="1"/>
          <p:nvPr/>
        </p:nvSpPr>
        <p:spPr>
          <a:xfrm>
            <a:off x="9053268" y="1616869"/>
            <a:ext cx="2511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Nivel 3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7ADED4F7-3A21-D260-0819-41CF03DAFC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5056951"/>
              </p:ext>
            </p:extLst>
          </p:nvPr>
        </p:nvGraphicFramePr>
        <p:xfrm>
          <a:off x="5908798" y="1691535"/>
          <a:ext cx="2511707" cy="1113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5" name="CuadroTexto 14">
            <a:extLst>
              <a:ext uri="{FF2B5EF4-FFF2-40B4-BE49-F238E27FC236}">
                <a16:creationId xmlns:a16="http://schemas.microsoft.com/office/drawing/2014/main" id="{8541E549-AB15-AB93-CD97-25E55A0722C6}"/>
              </a:ext>
            </a:extLst>
          </p:cNvPr>
          <p:cNvSpPr txBox="1"/>
          <p:nvPr/>
        </p:nvSpPr>
        <p:spPr>
          <a:xfrm>
            <a:off x="566611" y="3855294"/>
            <a:ext cx="2456901" cy="35137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6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CR Camión CAT 777G</a:t>
            </a:r>
          </a:p>
        </p:txBody>
      </p:sp>
      <p:graphicFrame>
        <p:nvGraphicFramePr>
          <p:cNvPr id="16" name="Diagrama 15">
            <a:extLst>
              <a:ext uri="{FF2B5EF4-FFF2-40B4-BE49-F238E27FC236}">
                <a16:creationId xmlns:a16="http://schemas.microsoft.com/office/drawing/2014/main" id="{7DB062C2-2685-4622-117D-81923CB3AF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2307111"/>
              </p:ext>
            </p:extLst>
          </p:nvPr>
        </p:nvGraphicFramePr>
        <p:xfrm>
          <a:off x="3245443" y="1747046"/>
          <a:ext cx="2463481" cy="10799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4370D971-E9FC-3A8C-B2BC-07E6F7ED2394}"/>
              </a:ext>
            </a:extLst>
          </p:cNvPr>
          <p:cNvSpPr txBox="1"/>
          <p:nvPr/>
        </p:nvSpPr>
        <p:spPr>
          <a:xfrm>
            <a:off x="3319536" y="2639919"/>
            <a:ext cx="1877497" cy="32946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cepción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arme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valuación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bastecimiento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paración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rmado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alidad</a:t>
            </a:r>
          </a:p>
          <a:p>
            <a:pPr>
              <a:buNone/>
            </a:pPr>
            <a:r>
              <a:rPr lang="es-CL" sz="1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ntrega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Diagrama 19">
            <a:extLst>
              <a:ext uri="{FF2B5EF4-FFF2-40B4-BE49-F238E27FC236}">
                <a16:creationId xmlns:a16="http://schemas.microsoft.com/office/drawing/2014/main" id="{A7BB050B-4016-0770-0B8C-12EAD9CC05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4311899"/>
              </p:ext>
            </p:extLst>
          </p:nvPr>
        </p:nvGraphicFramePr>
        <p:xfrm>
          <a:off x="9037443" y="1972346"/>
          <a:ext cx="3047999" cy="11308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22" name="CuadroTexto 21">
            <a:extLst>
              <a:ext uri="{FF2B5EF4-FFF2-40B4-BE49-F238E27FC236}">
                <a16:creationId xmlns:a16="http://schemas.microsoft.com/office/drawing/2014/main" id="{13B5465A-80F0-0F37-63CA-31ED8917FC8F}"/>
              </a:ext>
            </a:extLst>
          </p:cNvPr>
          <p:cNvSpPr txBox="1"/>
          <p:nvPr/>
        </p:nvSpPr>
        <p:spPr>
          <a:xfrm>
            <a:off x="6002946" y="3038916"/>
            <a:ext cx="2975908" cy="1647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arme</a:t>
            </a: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montar transmisión</a:t>
            </a:r>
            <a:endParaRPr lang="es-CL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montar motor</a:t>
            </a:r>
            <a:endParaRPr lang="es-CL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montar diferencial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914BFBE3-3DEC-577A-BCE9-0ACB8C3B7524}"/>
              </a:ext>
            </a:extLst>
          </p:cNvPr>
          <p:cNvSpPr/>
          <p:nvPr/>
        </p:nvSpPr>
        <p:spPr>
          <a:xfrm>
            <a:off x="3252023" y="2558005"/>
            <a:ext cx="2456901" cy="329469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F34CA00-F4F0-9AF4-F01D-D7E6647E51DA}"/>
              </a:ext>
            </a:extLst>
          </p:cNvPr>
          <p:cNvSpPr/>
          <p:nvPr/>
        </p:nvSpPr>
        <p:spPr>
          <a:xfrm>
            <a:off x="546014" y="2558005"/>
            <a:ext cx="2456901" cy="329469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ABF3B689-6F82-FA36-9C38-6AD9E549F91C}"/>
              </a:ext>
            </a:extLst>
          </p:cNvPr>
          <p:cNvSpPr/>
          <p:nvPr/>
        </p:nvSpPr>
        <p:spPr>
          <a:xfrm>
            <a:off x="5930855" y="2558005"/>
            <a:ext cx="3047999" cy="329469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FA2310C9-FA91-066C-F200-BDEB576AED2A}"/>
              </a:ext>
            </a:extLst>
          </p:cNvPr>
          <p:cNvSpPr/>
          <p:nvPr/>
        </p:nvSpPr>
        <p:spPr>
          <a:xfrm>
            <a:off x="3252023" y="3038916"/>
            <a:ext cx="2456902" cy="5260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" name="Flecha: a la derecha 26">
            <a:extLst>
              <a:ext uri="{FF2B5EF4-FFF2-40B4-BE49-F238E27FC236}">
                <a16:creationId xmlns:a16="http://schemas.microsoft.com/office/drawing/2014/main" id="{2C10AAA7-C64B-0A95-4D3C-F8D44593C0FB}"/>
              </a:ext>
            </a:extLst>
          </p:cNvPr>
          <p:cNvSpPr/>
          <p:nvPr/>
        </p:nvSpPr>
        <p:spPr>
          <a:xfrm>
            <a:off x="5769997" y="3103160"/>
            <a:ext cx="288957" cy="304393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8B103E2-F68E-7AE9-66CE-A70D2AD7DA02}"/>
              </a:ext>
            </a:extLst>
          </p:cNvPr>
          <p:cNvSpPr/>
          <p:nvPr/>
        </p:nvSpPr>
        <p:spPr>
          <a:xfrm>
            <a:off x="9037442" y="2558005"/>
            <a:ext cx="3047999" cy="329469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2B188FC0-D4B6-FB06-7462-68C492D3788F}"/>
              </a:ext>
            </a:extLst>
          </p:cNvPr>
          <p:cNvSpPr/>
          <p:nvPr/>
        </p:nvSpPr>
        <p:spPr>
          <a:xfrm>
            <a:off x="6400677" y="3826919"/>
            <a:ext cx="2456902" cy="5260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0" name="Flecha: a la derecha 29">
            <a:extLst>
              <a:ext uri="{FF2B5EF4-FFF2-40B4-BE49-F238E27FC236}">
                <a16:creationId xmlns:a16="http://schemas.microsoft.com/office/drawing/2014/main" id="{2914CC36-3702-C0BA-6D15-46A757D45BB8}"/>
              </a:ext>
            </a:extLst>
          </p:cNvPr>
          <p:cNvSpPr/>
          <p:nvPr/>
        </p:nvSpPr>
        <p:spPr>
          <a:xfrm>
            <a:off x="8895013" y="3982874"/>
            <a:ext cx="288957" cy="304393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95EB10F-43E6-B3D4-1EA0-4E4463E62DA3}"/>
              </a:ext>
            </a:extLst>
          </p:cNvPr>
          <p:cNvSpPr txBox="1"/>
          <p:nvPr/>
        </p:nvSpPr>
        <p:spPr>
          <a:xfrm>
            <a:off x="9073487" y="3982874"/>
            <a:ext cx="2975908" cy="1647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7" lvl="1">
              <a:lnSpc>
                <a:spcPct val="115000"/>
              </a:lnSpc>
              <a:spcAft>
                <a:spcPts val="800"/>
              </a:spcAft>
            </a:pPr>
            <a:r>
              <a:rPr lang="es-CL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montar motor</a:t>
            </a:r>
            <a:endParaRPr lang="es-CL" b="1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eparar área</a:t>
            </a: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Drenar fluidos</a:t>
            </a:r>
          </a:p>
          <a:p>
            <a:pPr marL="358775" lvl="1" indent="-185738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Retirar componentes</a:t>
            </a:r>
          </a:p>
        </p:txBody>
      </p:sp>
    </p:spTree>
    <p:extLst>
      <p:ext uri="{BB962C8B-B14F-4D97-AF65-F5344CB8AC3E}">
        <p14:creationId xmlns:p14="http://schemas.microsoft.com/office/powerpoint/2010/main" val="604178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9" grpId="0"/>
      <p:bldP spid="10" grpId="0"/>
      <p:bldP spid="11" grpId="0"/>
      <p:bldP spid="12" grpId="0"/>
      <p:bldGraphic spid="3" grpId="0">
        <p:bldAsOne/>
      </p:bldGraphic>
      <p:bldP spid="15" grpId="0" animBg="1"/>
      <p:bldGraphic spid="16" grpId="0">
        <p:bldAsOne/>
      </p:bldGraphic>
      <p:bldP spid="18" grpId="0"/>
      <p:bldGraphic spid="20" grpId="0">
        <p:bldAsOne/>
      </p:bldGraphic>
      <p:bldP spid="22" grpId="0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C8491A-774E-000F-7F21-39182A290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773AE209-6DC4-BED7-C92A-6DA8A7A9B7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8487335" y="1664443"/>
            <a:ext cx="2921149" cy="2844946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33FBFFE8-E2D3-CA1A-7D9B-914D5D285BCF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1893547-22E2-2A3F-D791-4A4951DD448C}"/>
              </a:ext>
            </a:extLst>
          </p:cNvPr>
          <p:cNvSpPr txBox="1"/>
          <p:nvPr/>
        </p:nvSpPr>
        <p:spPr>
          <a:xfrm>
            <a:off x="783515" y="1144429"/>
            <a:ext cx="7365061" cy="3364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 err="1">
                <a:latin typeface="Arial" panose="020B0604020202020204" pitchFamily="34" charset="0"/>
                <a:cs typeface="Arial" panose="020B0604020202020204" pitchFamily="34" charset="0"/>
              </a:rPr>
              <a:t>Checklist</a:t>
            </a: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 de una buena EDT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✅ Representa todo el alcance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✅ Tiene suficiente detalle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✅ Las actividades son entendibles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✅ Las fases son claras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✅ Permite medir avance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❌ No mezcla actividades distintas.</a:t>
            </a:r>
          </a:p>
          <a:p>
            <a:pPr lvl="1">
              <a:lnSpc>
                <a:spcPct val="150000"/>
              </a:lnSpc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❌ No utiliza tareas demasiado generales.</a:t>
            </a:r>
          </a:p>
        </p:txBody>
      </p:sp>
    </p:spTree>
    <p:extLst>
      <p:ext uri="{BB962C8B-B14F-4D97-AF65-F5344CB8AC3E}">
        <p14:creationId xmlns:p14="http://schemas.microsoft.com/office/powerpoint/2010/main" val="3197016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77E44F-B791-1BBA-DC04-6CEFF78CA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DEAFA3E3-0B99-6C8B-B192-9540BD568560}"/>
              </a:ext>
            </a:extLst>
          </p:cNvPr>
          <p:cNvSpPr txBox="1"/>
          <p:nvPr/>
        </p:nvSpPr>
        <p:spPr>
          <a:xfrm>
            <a:off x="3880271" y="1898192"/>
            <a:ext cx="3251380" cy="92333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s-CL" b="1" dirty="0"/>
              <a:t>          Mal</a:t>
            </a:r>
            <a:endParaRPr lang="es-CL" dirty="0"/>
          </a:p>
          <a:p>
            <a:pPr lvl="2"/>
            <a:r>
              <a:rPr lang="es-CL" dirty="0"/>
              <a:t>Desarme completo</a:t>
            </a:r>
          </a:p>
          <a:p>
            <a:pPr lvl="2"/>
            <a:r>
              <a:rPr lang="es-CL" dirty="0"/>
              <a:t>Duración 20 día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8A7DBD2-CB1E-741A-C21B-2ED44ACD2E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8487335" y="1664443"/>
            <a:ext cx="2921149" cy="284494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8C7A9E98-C12D-FF30-AC7F-E3F078CF07E8}"/>
              </a:ext>
            </a:extLst>
          </p:cNvPr>
          <p:cNvSpPr txBox="1"/>
          <p:nvPr/>
        </p:nvSpPr>
        <p:spPr>
          <a:xfrm>
            <a:off x="566058" y="1898192"/>
            <a:ext cx="3010294" cy="193899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>
            <a:spAutoFit/>
          </a:bodyPr>
          <a:lstStyle>
            <a:defPPr>
              <a:defRPr lang="es-CL"/>
            </a:defPPr>
            <a:lvl1pPr>
              <a:lnSpc>
                <a:spcPct val="150000"/>
              </a:lnSpc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L" dirty="0"/>
              <a:t>✅ Bien</a:t>
            </a:r>
          </a:p>
          <a:p>
            <a:pPr lvl="1"/>
            <a:r>
              <a:rPr lang="es-CL" b="0" dirty="0"/>
              <a:t>Desarme</a:t>
            </a:r>
          </a:p>
          <a:p>
            <a:pPr lvl="1"/>
            <a:r>
              <a:rPr lang="es-CL" b="0" dirty="0"/>
              <a:t>Transmisión</a:t>
            </a:r>
          </a:p>
          <a:p>
            <a:pPr lvl="1"/>
            <a:r>
              <a:rPr lang="es-CL" b="0" dirty="0"/>
              <a:t>Motor</a:t>
            </a:r>
          </a:p>
          <a:p>
            <a:pPr lvl="1"/>
            <a:r>
              <a:rPr lang="es-CL" b="0" dirty="0"/>
              <a:t>Diferencial</a:t>
            </a:r>
          </a:p>
          <a:p>
            <a:pPr lvl="1"/>
            <a:r>
              <a:rPr lang="es-CL" b="0" dirty="0"/>
              <a:t>Cabi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82EC7B2-B7C5-9541-A7CD-EEA06641154A}"/>
              </a:ext>
            </a:extLst>
          </p:cNvPr>
          <p:cNvSpPr txBox="1"/>
          <p:nvPr/>
        </p:nvSpPr>
        <p:spPr>
          <a:xfrm>
            <a:off x="566058" y="1167447"/>
            <a:ext cx="6502759" cy="496996"/>
          </a:xfrm>
          <a:prstGeom prst="rect">
            <a:avLst/>
          </a:prstGeom>
          <a:noFill/>
          <a:ln w="57150"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CL" sz="2000" b="1" dirty="0">
                <a:latin typeface="Arial" panose="020B0604020202020204" pitchFamily="34" charset="0"/>
                <a:cs typeface="Arial" panose="020B0604020202020204" pitchFamily="34" charset="0"/>
              </a:rPr>
              <a:t>Buenas prácticas</a:t>
            </a:r>
            <a:endParaRPr lang="es-C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áfico 9" descr="Cerrar con relleno sólido">
            <a:extLst>
              <a:ext uri="{FF2B5EF4-FFF2-40B4-BE49-F238E27FC236}">
                <a16:creationId xmlns:a16="http://schemas.microsoft.com/office/drawing/2014/main" id="{810BE0BA-48A8-A4F2-ED5B-8D7E630566E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19026" y="1879665"/>
            <a:ext cx="457200" cy="45720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E8871E3F-2B7E-8241-F15C-72E0A5B4D4DB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</p:spTree>
    <p:extLst>
      <p:ext uri="{BB962C8B-B14F-4D97-AF65-F5344CB8AC3E}">
        <p14:creationId xmlns:p14="http://schemas.microsoft.com/office/powerpoint/2010/main" val="2056212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7E1F563-826B-1E45-37CC-07154951C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50" y="863279"/>
            <a:ext cx="4876800" cy="48768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1FD1CA99-51B9-BC32-ABCF-68EB0E118AA5}"/>
              </a:ext>
            </a:extLst>
          </p:cNvPr>
          <p:cNvSpPr txBox="1"/>
          <p:nvPr/>
        </p:nvSpPr>
        <p:spPr>
          <a:xfrm>
            <a:off x="6250328" y="1215341"/>
            <a:ext cx="574104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ACTIVIDAD 1:</a:t>
            </a:r>
          </a:p>
          <a:p>
            <a:endParaRPr lang="es-CL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2400" dirty="0">
                <a:latin typeface="Arial" panose="020B0604020202020204" pitchFamily="34" charset="0"/>
                <a:cs typeface="Arial" panose="020B0604020202020204" pitchFamily="34" charset="0"/>
              </a:rPr>
              <a:t>Cada grupo debe crear una EDT para un equipo para el centro designado</a:t>
            </a:r>
          </a:p>
          <a:p>
            <a:endParaRPr lang="es-CL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2400" dirty="0">
                <a:latin typeface="Arial" panose="020B0604020202020204" pitchFamily="34" charset="0"/>
                <a:cs typeface="Arial" panose="020B0604020202020204" pitchFamily="34" charset="0"/>
              </a:rPr>
              <a:t>Duración: 20 min </a:t>
            </a:r>
          </a:p>
          <a:p>
            <a:endParaRPr lang="es-CL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Grupo 1 – Antofagasta</a:t>
            </a:r>
          </a:p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Grupo 2 – Santiago</a:t>
            </a:r>
          </a:p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Grupo 3 - Coquimbo</a:t>
            </a:r>
          </a:p>
        </p:txBody>
      </p:sp>
    </p:spTree>
    <p:extLst>
      <p:ext uri="{BB962C8B-B14F-4D97-AF65-F5344CB8AC3E}">
        <p14:creationId xmlns:p14="http://schemas.microsoft.com/office/powerpoint/2010/main" val="127862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F09648-0A84-4429-412E-9D9FD8F22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AACC0B93-31E2-E80F-640B-A2756D539D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2013" y="3826163"/>
            <a:ext cx="2349660" cy="234966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566E8D5A-869F-C457-4BA9-700201155E6A}"/>
              </a:ext>
            </a:extLst>
          </p:cNvPr>
          <p:cNvSpPr txBox="1"/>
          <p:nvPr/>
        </p:nvSpPr>
        <p:spPr>
          <a:xfrm>
            <a:off x="5578997" y="1700669"/>
            <a:ext cx="57410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PRESENTA CADA EQUIPO SU EDT </a:t>
            </a:r>
          </a:p>
          <a:p>
            <a:endParaRPr lang="es-CL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2400" b="1" dirty="0">
                <a:latin typeface="Arial" panose="020B0604020202020204" pitchFamily="34" charset="0"/>
                <a:cs typeface="Arial" panose="020B0604020202020204" pitchFamily="34" charset="0"/>
              </a:rPr>
              <a:t>5 mi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57C1CF3-F8D2-859B-10FD-51D598EAFC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4346" y="775504"/>
            <a:ext cx="3664586" cy="3664586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ADC25F94-975F-DD7B-D50E-CCB9AE5FD727}"/>
              </a:ext>
            </a:extLst>
          </p:cNvPr>
          <p:cNvSpPr txBox="1"/>
          <p:nvPr/>
        </p:nvSpPr>
        <p:spPr>
          <a:xfrm>
            <a:off x="5578997" y="2968973"/>
            <a:ext cx="6094070" cy="17143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Cada grupo presenta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Qué fases definió.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Qué fue lo más difícil.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Qué actividades dudó incorporar.</a:t>
            </a:r>
          </a:p>
        </p:txBody>
      </p:sp>
    </p:spTree>
    <p:extLst>
      <p:ext uri="{BB962C8B-B14F-4D97-AF65-F5344CB8AC3E}">
        <p14:creationId xmlns:p14="http://schemas.microsoft.com/office/powerpoint/2010/main" val="2800312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D6E77-6AF0-6CA5-2694-1CDB89F8D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896EC473-DC16-A87F-22FE-BBEEC194B4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761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BD807131-67EC-61CE-4B44-D5B6CEAD3F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771" t="32122" b="20742"/>
          <a:stretch>
            <a:fillRect/>
          </a:stretch>
        </p:blipFill>
        <p:spPr>
          <a:xfrm>
            <a:off x="517189" y="5520111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796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165DE5-47DB-71EA-E094-CB6BB6FCC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9D564435-FE72-F490-F9E9-AB1B2733F5D9}"/>
              </a:ext>
            </a:extLst>
          </p:cNvPr>
          <p:cNvGrpSpPr/>
          <p:nvPr/>
        </p:nvGrpSpPr>
        <p:grpSpPr>
          <a:xfrm>
            <a:off x="1474472" y="1710439"/>
            <a:ext cx="9096540" cy="4796966"/>
            <a:chOff x="1474472" y="1710439"/>
            <a:chExt cx="9096540" cy="4796966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37E42D2A-16BD-5781-0F18-7C21CC1F4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74472" y="1710439"/>
              <a:ext cx="9096540" cy="4796966"/>
            </a:xfrm>
            <a:prstGeom prst="rect">
              <a:avLst/>
            </a:prstGeom>
          </p:spPr>
        </p:pic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id="{8D6CD135-E526-9270-4DE1-58261DA8DAD0}"/>
                </a:ext>
              </a:extLst>
            </p:cNvPr>
            <p:cNvSpPr/>
            <p:nvPr/>
          </p:nvSpPr>
          <p:spPr>
            <a:xfrm>
              <a:off x="4953964" y="3321934"/>
              <a:ext cx="1400537" cy="27084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EF263439-2616-019E-1C42-56BB9000C822}"/>
                </a:ext>
              </a:extLst>
            </p:cNvPr>
            <p:cNvSpPr/>
            <p:nvPr/>
          </p:nvSpPr>
          <p:spPr>
            <a:xfrm>
              <a:off x="1620987" y="2911611"/>
              <a:ext cx="3425575" cy="343532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7" name="Título 1">
            <a:extLst>
              <a:ext uri="{FF2B5EF4-FFF2-40B4-BE49-F238E27FC236}">
                <a16:creationId xmlns:a16="http://schemas.microsoft.com/office/drawing/2014/main" id="{B2268511-9751-7E32-5237-263A28AFC9FE}"/>
              </a:ext>
            </a:extLst>
          </p:cNvPr>
          <p:cNvSpPr txBox="1">
            <a:spLocks/>
          </p:cNvSpPr>
          <p:nvPr/>
        </p:nvSpPr>
        <p:spPr>
          <a:xfrm rot="16200000">
            <a:off x="-1973580" y="3192780"/>
            <a:ext cx="5257800" cy="838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MOSTRACIÓN 1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EB28149-FC26-0D13-3E05-6E8A0A4764B7}"/>
              </a:ext>
            </a:extLst>
          </p:cNvPr>
          <p:cNvSpPr txBox="1"/>
          <p:nvPr/>
        </p:nvSpPr>
        <p:spPr>
          <a:xfrm>
            <a:off x="1474472" y="1197181"/>
            <a:ext cx="3371848" cy="38382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gurar EDT en proyect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4FB7E6C-C473-5D25-3207-DA5A3EDCA52D}"/>
              </a:ext>
            </a:extLst>
          </p:cNvPr>
          <p:cNvSpPr txBox="1"/>
          <p:nvPr/>
        </p:nvSpPr>
        <p:spPr>
          <a:xfrm>
            <a:off x="8719774" y="1197181"/>
            <a:ext cx="3236007" cy="147732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Crear estructura en Project</a:t>
            </a:r>
          </a:p>
          <a:p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Sin duraciones todavía.</a:t>
            </a:r>
          </a:p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Sólo:</a:t>
            </a:r>
          </a:p>
          <a:p>
            <a:pPr lvl="1"/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Tareas resumen</a:t>
            </a:r>
          </a:p>
          <a:p>
            <a:pPr lvl="1"/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Subtarea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9C6D331-E056-E362-B6C7-613AF6BB1F1F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</p:spTree>
    <p:extLst>
      <p:ext uri="{BB962C8B-B14F-4D97-AF65-F5344CB8AC3E}">
        <p14:creationId xmlns:p14="http://schemas.microsoft.com/office/powerpoint/2010/main" val="4282923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63109F98-8F5E-0EA8-C756-088E0E1C665E}"/>
              </a:ext>
            </a:extLst>
          </p:cNvPr>
          <p:cNvSpPr txBox="1"/>
          <p:nvPr/>
        </p:nvSpPr>
        <p:spPr>
          <a:xfrm>
            <a:off x="1505902" y="982980"/>
            <a:ext cx="10686098" cy="50269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Ejercicio práctico </a:t>
            </a:r>
            <a:r>
              <a:rPr lang="es-CL" b="1" dirty="0" err="1">
                <a:latin typeface="Arial" panose="020B0604020202020204" pitchFamily="34" charset="0"/>
                <a:cs typeface="Arial" panose="020B0604020202020204" pitchFamily="34" charset="0"/>
              </a:rPr>
              <a:t>N°</a:t>
            </a: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 2 – </a:t>
            </a:r>
            <a:r>
              <a:rPr lang="es-CL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DAD INDIVIDUAL</a:t>
            </a:r>
            <a:endParaRPr lang="es-CL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aso: Crear en Microsoft Project la EDT establecida para el equipo creado en la Actividad 1.</a:t>
            </a: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onfigurar:</a:t>
            </a:r>
          </a:p>
          <a:p>
            <a:pPr lvl="1"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•	</a:t>
            </a: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Fases del proyecto: Actividades / Subactividades</a:t>
            </a: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Resultado esperado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Proyecto creado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Fases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Actividades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Subactividades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❌ Sin duraciones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❌ Sin dependencias.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❌ Sin recursos.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A8276811-689B-461F-5AD0-57EF77D39B4C}"/>
              </a:ext>
            </a:extLst>
          </p:cNvPr>
          <p:cNvSpPr txBox="1">
            <a:spLocks/>
          </p:cNvSpPr>
          <p:nvPr/>
        </p:nvSpPr>
        <p:spPr>
          <a:xfrm rot="16200000">
            <a:off x="-1973580" y="3192780"/>
            <a:ext cx="5257800" cy="838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L" sz="3100" b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CTIQUEMOS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B8FE1FA-1709-218D-47F5-30C8279FAA0A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B8F7AA3-4C5D-46A4-73D2-A25A14CE2C9F}"/>
              </a:ext>
            </a:extLst>
          </p:cNvPr>
          <p:cNvSpPr txBox="1"/>
          <p:nvPr/>
        </p:nvSpPr>
        <p:spPr>
          <a:xfrm>
            <a:off x="8842509" y="1981328"/>
            <a:ext cx="2813244" cy="147732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Mínimo requer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5 f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15 actividad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3 niveles </a:t>
            </a:r>
            <a:r>
              <a:rPr lang="es-CL">
                <a:latin typeface="Arial" panose="020B0604020202020204" pitchFamily="34" charset="0"/>
                <a:cs typeface="Arial" panose="020B0604020202020204" pitchFamily="34" charset="0"/>
              </a:rPr>
              <a:t>de desglose (NIVEL 1, 2 Y 3).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796EC02-B749-B6A2-5F66-F76457E696B9}"/>
              </a:ext>
            </a:extLst>
          </p:cNvPr>
          <p:cNvSpPr txBox="1"/>
          <p:nvPr/>
        </p:nvSpPr>
        <p:spPr>
          <a:xfrm>
            <a:off x="6097930" y="4350709"/>
            <a:ext cx="609407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Guardar archivo:</a:t>
            </a: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las03_nombre_v02.mpp</a:t>
            </a:r>
          </a:p>
          <a:p>
            <a:pPr>
              <a:lnSpc>
                <a:spcPct val="150000"/>
              </a:lnSpc>
            </a:pPr>
            <a:r>
              <a:rPr lang="es-CL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viar tarea al correo: proyectos@insightgroup.cl</a:t>
            </a:r>
          </a:p>
        </p:txBody>
      </p:sp>
    </p:spTree>
    <p:extLst>
      <p:ext uri="{BB962C8B-B14F-4D97-AF65-F5344CB8AC3E}">
        <p14:creationId xmlns:p14="http://schemas.microsoft.com/office/powerpoint/2010/main" val="3012300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AB36AE5-3FC5-ECAD-631C-4F6EEDFB85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88761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9AACE6F-91B0-52C1-E76E-EAD2B8A67A3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771" t="32122" b="20742"/>
          <a:stretch>
            <a:fillRect/>
          </a:stretch>
        </p:blipFill>
        <p:spPr>
          <a:xfrm>
            <a:off x="517189" y="5520111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04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3991FA6-3C17-7B9E-80B9-9870C7DBBC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632" y="2145767"/>
            <a:ext cx="2560320" cy="256032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0DA1EB8-87CF-4588-A1FD-4756F9A28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210079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n 5" descr="Icono&#10;&#10;El contenido generado por IA puede ser incorrecto.">
            <a:extLst>
              <a:ext uri="{FF2B5EF4-FFF2-40B4-BE49-F238E27FC236}">
                <a16:creationId xmlns:a16="http://schemas.microsoft.com/office/drawing/2014/main" id="{E3D25C7A-0E63-68FB-AC6C-505BEAD16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4631" y="2145767"/>
            <a:ext cx="2560320" cy="256032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A4E378-EA57-47B9-B1EB-58B998F6C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72595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 descr="Icono&#10;&#10;El contenido generado por IA puede ser incorrecto.">
            <a:extLst>
              <a:ext uri="{FF2B5EF4-FFF2-40B4-BE49-F238E27FC236}">
                <a16:creationId xmlns:a16="http://schemas.microsoft.com/office/drawing/2014/main" id="{D86199BC-5C3C-B3C7-E56A-84498319A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5726" y="2145767"/>
            <a:ext cx="2560320" cy="256032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2B31ED6-76F0-425A-9A41-C947AEF9C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662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n 4" descr="Icono&#10;&#10;El contenido generado por IA puede ser incorrecto.">
            <a:extLst>
              <a:ext uri="{FF2B5EF4-FFF2-40B4-BE49-F238E27FC236}">
                <a16:creationId xmlns:a16="http://schemas.microsoft.com/office/drawing/2014/main" id="{8CC80124-B3F4-736C-3366-EBDEE22F84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0662" y="2145767"/>
            <a:ext cx="2560320" cy="256032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6783BD85-E01A-505B-6A58-1590FFD47F54}"/>
              </a:ext>
            </a:extLst>
          </p:cNvPr>
          <p:cNvSpPr txBox="1"/>
          <p:nvPr/>
        </p:nvSpPr>
        <p:spPr>
          <a:xfrm>
            <a:off x="3186774" y="5284113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a palabra que resuma la sesió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 concepto nuevo que aprendí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a pregunta que me llevo para la próxima clase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0748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6789E6-74BB-1C1F-56F6-11488D5AC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A5CEE46A-56F1-F4FC-BF2A-FBE2C05D8294}"/>
              </a:ext>
            </a:extLst>
          </p:cNvPr>
          <p:cNvSpPr txBox="1"/>
          <p:nvPr/>
        </p:nvSpPr>
        <p:spPr>
          <a:xfrm>
            <a:off x="566058" y="1144657"/>
            <a:ext cx="11310256" cy="4913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ón:</a:t>
            </a: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4 horas (2 sesiones de 2 horas)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bjetivo del módulo: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 finalizar el módulo, el participante será capaz de estructurar y construir una Carta Gantt de reconstrucción utilizando Microsoft Project, aplicando una secuencia lógica de actividades, fases y hitos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endParaRPr lang="es-MX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DT (Estructura de Desglose del Trabajo)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ases de reconstrucción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areas y subtareas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ones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strucción de la primera Carta Gantt completa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16B35D5-AF69-A604-5E6A-2FF50F9E357B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</p:spTree>
    <p:extLst>
      <p:ext uri="{BB962C8B-B14F-4D97-AF65-F5344CB8AC3E}">
        <p14:creationId xmlns:p14="http://schemas.microsoft.com/office/powerpoint/2010/main" val="3573824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BEFC32E-708B-56F8-FF8C-5FEA1BCDD2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9" y="0"/>
            <a:ext cx="12185522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B1A50E0-9238-8B6F-738B-B1D6669AC8D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771" t="32122" b="20742"/>
          <a:stretch>
            <a:fillRect/>
          </a:stretch>
        </p:blipFill>
        <p:spPr>
          <a:xfrm>
            <a:off x="9594514" y="5262936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18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4BCE5027-98DB-623E-887B-EA0C1198FCEC}"/>
              </a:ext>
            </a:extLst>
          </p:cNvPr>
          <p:cNvSpPr txBox="1"/>
          <p:nvPr/>
        </p:nvSpPr>
        <p:spPr>
          <a:xfrm>
            <a:off x="838200" y="703071"/>
            <a:ext cx="10759634" cy="24876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CL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lase 3 - </a:t>
            </a:r>
            <a:r>
              <a:rPr lang="es-MX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structura de una reconstrucción y EDT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s-MX" sz="2400" b="1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CL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bjetivo de la sesión  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mprender cómo se estructura un proyecto de reconstrucción antes de ingresar actividades en Project.</a:t>
            </a:r>
          </a:p>
        </p:txBody>
      </p:sp>
    </p:spTree>
    <p:extLst>
      <p:ext uri="{BB962C8B-B14F-4D97-AF65-F5344CB8AC3E}">
        <p14:creationId xmlns:p14="http://schemas.microsoft.com/office/powerpoint/2010/main" val="205141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8F2DCF3-DADC-168B-B127-6C2A520F55A4}"/>
              </a:ext>
            </a:extLst>
          </p:cNvPr>
          <p:cNvSpPr txBox="1"/>
          <p:nvPr/>
        </p:nvSpPr>
        <p:spPr>
          <a:xfrm>
            <a:off x="1845940" y="1018604"/>
            <a:ext cx="8677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/>
              <a:t>Acuerdos de trabajo</a:t>
            </a:r>
            <a:endParaRPr lang="es-CL" sz="5400" b="1"/>
          </a:p>
        </p:txBody>
      </p:sp>
      <p:pic>
        <p:nvPicPr>
          <p:cNvPr id="3" name="Imagen 2" descr="Icono&#10;&#10;El contenido generado por IA puede ser incorrecto.">
            <a:extLst>
              <a:ext uri="{FF2B5EF4-FFF2-40B4-BE49-F238E27FC236}">
                <a16:creationId xmlns:a16="http://schemas.microsoft.com/office/drawing/2014/main" id="{0156D8E4-2554-297C-3363-A825012EB8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365" y="2343150"/>
            <a:ext cx="790575" cy="790575"/>
          </a:xfrm>
          <a:prstGeom prst="rect">
            <a:avLst/>
          </a:prstGeom>
        </p:spPr>
      </p:pic>
      <p:pic>
        <p:nvPicPr>
          <p:cNvPr id="5" name="Imagen 4" descr="Icono&#10;&#10;El contenido generado por IA puede ser incorrecto.">
            <a:extLst>
              <a:ext uri="{FF2B5EF4-FFF2-40B4-BE49-F238E27FC236}">
                <a16:creationId xmlns:a16="http://schemas.microsoft.com/office/drawing/2014/main" id="{58B3C6F6-674E-CF8E-2393-908F1FB325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9935" y="2274570"/>
            <a:ext cx="951334" cy="95133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EBB27D7-0D81-77C8-4161-C3DF1519A114}"/>
              </a:ext>
            </a:extLst>
          </p:cNvPr>
          <p:cNvSpPr txBox="1"/>
          <p:nvPr/>
        </p:nvSpPr>
        <p:spPr>
          <a:xfrm>
            <a:off x="1926319" y="2539972"/>
            <a:ext cx="19217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/>
              <a:t>Estar presentes</a:t>
            </a:r>
            <a:endParaRPr lang="es-CL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18D212D-488A-6C04-D002-6E7348CDE0F0}"/>
              </a:ext>
            </a:extLst>
          </p:cNvPr>
          <p:cNvSpPr txBox="1"/>
          <p:nvPr/>
        </p:nvSpPr>
        <p:spPr>
          <a:xfrm>
            <a:off x="5000890" y="2096471"/>
            <a:ext cx="226695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/>
              <a:t>Cuando intervenimos para participar</a:t>
            </a:r>
          </a:p>
          <a:p>
            <a:r>
              <a:rPr lang="es-ES" b="1"/>
              <a:t>Pedir la palabra</a:t>
            </a:r>
            <a:endParaRPr lang="es-CL" b="1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A12E74A-88FF-538C-ED49-445C281C29BF}"/>
              </a:ext>
            </a:extLst>
          </p:cNvPr>
          <p:cNvSpPr txBox="1"/>
          <p:nvPr/>
        </p:nvSpPr>
        <p:spPr>
          <a:xfrm>
            <a:off x="8393805" y="2547824"/>
            <a:ext cx="2533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/>
              <a:t>Hablar con intención, escuchar con atención</a:t>
            </a:r>
            <a:endParaRPr lang="es-CL" dirty="0"/>
          </a:p>
        </p:txBody>
      </p:sp>
      <p:pic>
        <p:nvPicPr>
          <p:cNvPr id="10" name="Imagen 9" descr="Icono&#10;&#10;El contenido generado por IA puede ser incorrecto.">
            <a:extLst>
              <a:ext uri="{FF2B5EF4-FFF2-40B4-BE49-F238E27FC236}">
                <a16:creationId xmlns:a16="http://schemas.microsoft.com/office/drawing/2014/main" id="{44B0FF3D-C452-7A71-4CEF-63169A1655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809" b="96890" l="8134" r="98086">
                        <a14:foregroundMark x1="46411" y1="9809" x2="28230" y2="10287"/>
                        <a14:foregroundMark x1="28230" y1="10287" x2="28947" y2="11962"/>
                        <a14:foregroundMark x1="10287" y1="29426" x2="8612" y2="48325"/>
                        <a14:foregroundMark x1="8612" y1="48325" x2="10766" y2="55981"/>
                        <a14:foregroundMark x1="14833" y1="87321" x2="33971" y2="96890"/>
                        <a14:foregroundMark x1="33971" y1="96890" x2="16507" y2="88995"/>
                        <a14:foregroundMark x1="77273" y1="75598" x2="93780" y2="85167"/>
                        <a14:foregroundMark x1="93780" y1="85167" x2="75120" y2="77273"/>
                        <a14:foregroundMark x1="75120" y1="77273" x2="73923" y2="74880"/>
                        <a14:foregroundMark x1="73684" y1="52871" x2="98086" y2="51435"/>
                        <a14:foregroundMark x1="98086" y1="51435" x2="75120" y2="55502"/>
                        <a14:foregroundMark x1="76555" y1="30622" x2="94498" y2="21770"/>
                        <a14:foregroundMark x1="94498" y1="21770" x2="94737" y2="2153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49676" y="2277082"/>
            <a:ext cx="844129" cy="844129"/>
          </a:xfrm>
          <a:prstGeom prst="rect">
            <a:avLst/>
          </a:prstGeom>
        </p:spPr>
      </p:pic>
      <p:pic>
        <p:nvPicPr>
          <p:cNvPr id="13" name="Imagen 12" descr="Icono&#10;&#10;El contenido generado por IA puede ser incorrecto.">
            <a:extLst>
              <a:ext uri="{FF2B5EF4-FFF2-40B4-BE49-F238E27FC236}">
                <a16:creationId xmlns:a16="http://schemas.microsoft.com/office/drawing/2014/main" id="{879F9460-2F37-2D5D-9195-DFB0EB0A96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9935" y="3967984"/>
            <a:ext cx="1019175" cy="1019175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A275AA8E-AB36-A68D-8CA6-660E6EF819D6}"/>
              </a:ext>
            </a:extLst>
          </p:cNvPr>
          <p:cNvSpPr txBox="1"/>
          <p:nvPr/>
        </p:nvSpPr>
        <p:spPr>
          <a:xfrm>
            <a:off x="5149110" y="4222539"/>
            <a:ext cx="26918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dirty="0"/>
              <a:t>Participación activa y colaborativa 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94350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BE6CE7-E73B-C43F-1EAC-98452D9FE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319E4592-1E9D-FB86-043E-548524506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990600"/>
            <a:ext cx="4876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28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FC477750-007E-B631-6AC3-3E17E816DE3A}"/>
              </a:ext>
            </a:extLst>
          </p:cNvPr>
          <p:cNvSpPr txBox="1"/>
          <p:nvPr/>
        </p:nvSpPr>
        <p:spPr>
          <a:xfrm>
            <a:off x="1461786" y="1590702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Por qué fracasan los cronogramas en los proyectos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AB235BE-E20A-7012-A94D-E49B9416C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8378" y="2465142"/>
            <a:ext cx="3395241" cy="3395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251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4F0CD6-9140-2548-9393-09C358FFF2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1D24106A-9671-7943-3B1A-7B1194061F8A}"/>
              </a:ext>
            </a:extLst>
          </p:cNvPr>
          <p:cNvSpPr txBox="1"/>
          <p:nvPr/>
        </p:nvSpPr>
        <p:spPr>
          <a:xfrm>
            <a:off x="639983" y="516716"/>
            <a:ext cx="9453623" cy="4809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24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Por qué fracasan los cronogramas en los proyectos?</a:t>
            </a:r>
            <a:endParaRPr lang="es-CL" sz="24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23CB403-5763-F089-5C52-CDAF6793DF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778" y="1539168"/>
            <a:ext cx="2153157" cy="215315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F170F18-D698-75C0-FCAB-5A41AFD34C96}"/>
              </a:ext>
            </a:extLst>
          </p:cNvPr>
          <p:cNvSpPr txBox="1"/>
          <p:nvPr/>
        </p:nvSpPr>
        <p:spPr>
          <a:xfrm>
            <a:off x="2893935" y="1365307"/>
            <a:ext cx="6094070" cy="2500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rque: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as actividades están incompletas.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alta detalle.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 existen hitos.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 existen responsables.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 consideran restricciones.</a:t>
            </a:r>
          </a:p>
        </p:txBody>
      </p:sp>
    </p:spTree>
    <p:extLst>
      <p:ext uri="{BB962C8B-B14F-4D97-AF65-F5344CB8AC3E}">
        <p14:creationId xmlns:p14="http://schemas.microsoft.com/office/powerpoint/2010/main" val="1672049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D4D99A35-4C37-9B6E-1AB8-96479CC26C51}"/>
              </a:ext>
            </a:extLst>
          </p:cNvPr>
          <p:cNvSpPr txBox="1"/>
          <p:nvPr/>
        </p:nvSpPr>
        <p:spPr>
          <a:xfrm>
            <a:off x="836271" y="530727"/>
            <a:ext cx="9129532" cy="16585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Qué es una EDT?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15000"/>
              </a:lnSpc>
              <a:spcAft>
                <a:spcPts val="800"/>
              </a:spcAft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DT = Estructura de Desglose del Trabajo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ambién conocida como:</a:t>
            </a:r>
          </a:p>
          <a:p>
            <a:pPr lvl="1">
              <a:lnSpc>
                <a:spcPct val="115000"/>
              </a:lnSpc>
              <a:spcAft>
                <a:spcPts val="800"/>
              </a:spcAft>
            </a:pPr>
            <a:r>
              <a:rPr lang="es-CL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BS (Work </a:t>
            </a:r>
            <a:r>
              <a:rPr lang="es-CL" b="1" kern="1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reakdown</a:t>
            </a:r>
            <a:r>
              <a:rPr lang="es-CL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s-CL" b="1" kern="1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tructure</a:t>
            </a:r>
            <a:r>
              <a:rPr lang="es-CL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06DED6F-FB1C-EE6B-AFFF-8DC134B4ABAD}"/>
              </a:ext>
            </a:extLst>
          </p:cNvPr>
          <p:cNvSpPr txBox="1"/>
          <p:nvPr/>
        </p:nvSpPr>
        <p:spPr>
          <a:xfrm>
            <a:off x="836271" y="2663141"/>
            <a:ext cx="6094070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incipio fundamental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90395379-9A47-4C5E-FB76-B21DAB0EE4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5239601"/>
              </p:ext>
            </p:extLst>
          </p:nvPr>
        </p:nvGraphicFramePr>
        <p:xfrm>
          <a:off x="1180618" y="3148313"/>
          <a:ext cx="5131326" cy="3265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87030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D1F1EB0-72BE-B98C-3087-6BF325075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8C614E4A-A499-2EA2-0C99-2310D8E36083}"/>
              </a:ext>
            </a:extLst>
          </p:cNvPr>
          <p:cNvSpPr txBox="1"/>
          <p:nvPr/>
        </p:nvSpPr>
        <p:spPr>
          <a:xfrm>
            <a:off x="699246" y="533400"/>
            <a:ext cx="6094070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sglose por niveles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83E1BAD4-EAEE-1472-9061-DDE0CCCEFE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682999"/>
              </p:ext>
            </p:extLst>
          </p:nvPr>
        </p:nvGraphicFramePr>
        <p:xfrm>
          <a:off x="699246" y="1415694"/>
          <a:ext cx="5131326" cy="3265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2228C58F-04A8-70D5-4334-BB4636442847}"/>
              </a:ext>
            </a:extLst>
          </p:cNvPr>
          <p:cNvSpPr/>
          <p:nvPr/>
        </p:nvSpPr>
        <p:spPr>
          <a:xfrm>
            <a:off x="5428527" y="1747777"/>
            <a:ext cx="1364789" cy="150471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" name="Flecha: a la derecha 3">
            <a:extLst>
              <a:ext uri="{FF2B5EF4-FFF2-40B4-BE49-F238E27FC236}">
                <a16:creationId xmlns:a16="http://schemas.microsoft.com/office/drawing/2014/main" id="{AC910F93-2C30-089C-E88D-82620AA54674}"/>
              </a:ext>
            </a:extLst>
          </p:cNvPr>
          <p:cNvSpPr/>
          <p:nvPr/>
        </p:nvSpPr>
        <p:spPr>
          <a:xfrm>
            <a:off x="5629550" y="2512136"/>
            <a:ext cx="1364789" cy="150471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89CBC9D2-F74B-28AB-2D22-04B7766BBC4E}"/>
              </a:ext>
            </a:extLst>
          </p:cNvPr>
          <p:cNvSpPr/>
          <p:nvPr/>
        </p:nvSpPr>
        <p:spPr>
          <a:xfrm>
            <a:off x="5830572" y="3429000"/>
            <a:ext cx="1364789" cy="150471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Flecha: a la derecha 7">
            <a:extLst>
              <a:ext uri="{FF2B5EF4-FFF2-40B4-BE49-F238E27FC236}">
                <a16:creationId xmlns:a16="http://schemas.microsoft.com/office/drawing/2014/main" id="{F86AF6CA-A642-04EB-4760-7A9952E30A38}"/>
              </a:ext>
            </a:extLst>
          </p:cNvPr>
          <p:cNvSpPr/>
          <p:nvPr/>
        </p:nvSpPr>
        <p:spPr>
          <a:xfrm>
            <a:off x="6133047" y="4290884"/>
            <a:ext cx="1364789" cy="150471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4DCD300-FA74-F523-3D18-08777A94B381}"/>
              </a:ext>
            </a:extLst>
          </p:cNvPr>
          <p:cNvSpPr txBox="1"/>
          <p:nvPr/>
        </p:nvSpPr>
        <p:spPr>
          <a:xfrm>
            <a:off x="7083706" y="1562053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Nivel 0 - Proyecto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E6F88F0-6F32-0BEE-92F7-D07EC0BF146A}"/>
              </a:ext>
            </a:extLst>
          </p:cNvPr>
          <p:cNvSpPr txBox="1"/>
          <p:nvPr/>
        </p:nvSpPr>
        <p:spPr>
          <a:xfrm>
            <a:off x="7373073" y="2382450"/>
            <a:ext cx="3576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Nivel 1 – Etapas del proyecto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265B03D-445C-4CC3-1837-F6EB211F011B}"/>
              </a:ext>
            </a:extLst>
          </p:cNvPr>
          <p:cNvSpPr txBox="1"/>
          <p:nvPr/>
        </p:nvSpPr>
        <p:spPr>
          <a:xfrm>
            <a:off x="7731889" y="3319569"/>
            <a:ext cx="3426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Nivel 2 - Dependencia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3D840EE-D7D4-9EDB-DF03-FC3B10AB1681}"/>
              </a:ext>
            </a:extLst>
          </p:cNvPr>
          <p:cNvSpPr txBox="1"/>
          <p:nvPr/>
        </p:nvSpPr>
        <p:spPr>
          <a:xfrm>
            <a:off x="7963383" y="4181453"/>
            <a:ext cx="39816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Nivel 3 – </a:t>
            </a:r>
            <a:r>
              <a:rPr lang="es-CL" b="1" dirty="0" err="1">
                <a:latin typeface="Arial" panose="020B0604020202020204" pitchFamily="34" charset="0"/>
                <a:cs typeface="Arial" panose="020B0604020202020204" pitchFamily="34" charset="0"/>
              </a:rPr>
              <a:t>Subdependencias</a:t>
            </a: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 del nivel anterior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3D6EA51-A82C-04F6-2007-46A05C36D7B6}"/>
              </a:ext>
            </a:extLst>
          </p:cNvPr>
          <p:cNvSpPr txBox="1"/>
          <p:nvPr/>
        </p:nvSpPr>
        <p:spPr>
          <a:xfrm>
            <a:off x="562220" y="5905221"/>
            <a:ext cx="84891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b="0" i="1" dirty="0">
                <a:solidFill>
                  <a:srgbClr val="2A2B2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DT: divide un proyecto en componentes más pequeños y manejables.</a:t>
            </a:r>
            <a:endParaRPr lang="es-CL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7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2" grpId="0" animBg="1"/>
      <p:bldP spid="4" grpId="0" animBg="1"/>
      <p:bldP spid="7" grpId="0" animBg="1"/>
      <p:bldP spid="8" grpId="0" animBg="1"/>
      <p:bldP spid="9" grpId="0"/>
      <p:bldP spid="10" grpId="0"/>
      <p:bldP spid="11" grpId="0"/>
      <p:bldP spid="1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86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49</TotalTime>
  <Words>625</Words>
  <Application>Microsoft Office PowerPoint</Application>
  <PresentationFormat>Panorámica</PresentationFormat>
  <Paragraphs>153</Paragraphs>
  <Slides>20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6" baseType="lpstr">
      <vt:lpstr>Aptos</vt:lpstr>
      <vt:lpstr>Aptos Display</vt:lpstr>
      <vt:lpstr>Arial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atalie Delgado</dc:creator>
  <cp:lastModifiedBy>Natalie Delgado</cp:lastModifiedBy>
  <cp:revision>4</cp:revision>
  <dcterms:created xsi:type="dcterms:W3CDTF">2026-06-02T00:43:29Z</dcterms:created>
  <dcterms:modified xsi:type="dcterms:W3CDTF">2026-06-19T15:41:15Z</dcterms:modified>
</cp:coreProperties>
</file>